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7" r:id="rId5"/>
    <p:sldMasterId id="2147483723" r:id="rId6"/>
    <p:sldMasterId id="2147483739" r:id="rId7"/>
  </p:sldMasterIdLst>
  <p:notesMasterIdLst>
    <p:notesMasterId r:id="rId20"/>
  </p:notesMasterIdLst>
  <p:handoutMasterIdLst>
    <p:handoutMasterId r:id="rId21"/>
  </p:handoutMasterIdLst>
  <p:sldIdLst>
    <p:sldId id="2147471907" r:id="rId8"/>
    <p:sldId id="2147471909" r:id="rId9"/>
    <p:sldId id="2147471922" r:id="rId10"/>
    <p:sldId id="2147471930" r:id="rId11"/>
    <p:sldId id="2147471931" r:id="rId12"/>
    <p:sldId id="2147471933" r:id="rId13"/>
    <p:sldId id="256" r:id="rId14"/>
    <p:sldId id="262" r:id="rId15"/>
    <p:sldId id="2147471932" r:id="rId16"/>
    <p:sldId id="2147471929" r:id="rId17"/>
    <p:sldId id="2147471934" r:id="rId18"/>
    <p:sldId id="282" r:id="rId19"/>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D3491C-927F-AF97-F793-CFBBED891BAD}" name="Alexandra Acevedo Morales" initials="AAM" userId="S::alexandra.acevedomo@ecopetrol.com.co::45690143-85c9-40e2-913a-36e336c682c0" providerId="AD"/>
  <p188:author id="{EE96DC32-1027-ED0C-4826-A8DB98ADB344}" name="Julian Ricardo Huertas Lizarazo" initials="JL" userId="S::julian.huertas@ecopetrol.com.co::cd2a57ce-ae81-4377-a56d-f892599ab9ed" providerId="AD"/>
  <p188:author id="{8AD5AF7F-CD8F-3B4C-6EA5-3488AC3CB907}" name="Juan Camilo Granados Riveros" initials="JCGR" userId="S::juan.granados@ecopetrol.com.co::7afb373d-3d6d-4f99-ab24-8a7e5f6a9c96" providerId="AD"/>
  <p188:author id="{2297AC86-7103-0ABC-A478-63E26E2B0072}" name="Camila Pardo Perez" initials="CPP" userId="S::camila.pardo@ecopetrol.com.co::2da65384-0b4e-488b-9d55-dc72bd014e7a" providerId="AD"/>
  <p188:author id="{F81FCBC3-E9AB-9A36-82F8-02191659121C}" name="Juan David Malagon Villafane" initials="JDMV" userId="S::juanda.malagon@ecopetrol.com.co::3e1b8e6e-6492-4e74-9902-337daf1d684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D200"/>
    <a:srgbClr val="5501B2"/>
    <a:srgbClr val="3366FF"/>
    <a:srgbClr val="FF5F00"/>
    <a:srgbClr val="F7DB17"/>
    <a:srgbClr val="00214D"/>
    <a:srgbClr val="CCD32A"/>
    <a:srgbClr val="403833"/>
    <a:srgbClr val="004236"/>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E6485A-6D16-4364-882C-4FD99568E1A6}" v="267" dt="2023-05-03T14:13:26.795"/>
  </p1510:revLst>
</p1510:revInfo>
</file>

<file path=ppt/tableStyles.xml><?xml version="1.0" encoding="utf-8"?>
<a:tblStyleLst xmlns:a="http://schemas.openxmlformats.org/drawingml/2006/main" def="{5C22544A-7EE6-4342-B048-85BDC9FD1C3A}">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660"/>
  </p:normalViewPr>
  <p:slideViewPr>
    <p:cSldViewPr snapToGrid="0">
      <p:cViewPr varScale="1">
        <p:scale>
          <a:sx n="106" d="100"/>
          <a:sy n="106" d="100"/>
        </p:scale>
        <p:origin x="756" y="11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istian Camilo Herreno Mojica" userId="658f9461-302b-40d9-9197-71d4555011f2" providerId="ADAL" clId="{0083C70C-2966-48F7-AB46-04E10C74CAFC}"/>
    <pc:docChg chg="custSel modSld">
      <pc:chgData name="Cristian Camilo Herreno Mojica" userId="658f9461-302b-40d9-9197-71d4555011f2" providerId="ADAL" clId="{0083C70C-2966-48F7-AB46-04E10C74CAFC}" dt="2023-04-19T22:21:26.555" v="138" actId="14100"/>
      <pc:docMkLst>
        <pc:docMk/>
      </pc:docMkLst>
      <pc:sldChg chg="addSp delSp modSp mod">
        <pc:chgData name="Cristian Camilo Herreno Mojica" userId="658f9461-302b-40d9-9197-71d4555011f2" providerId="ADAL" clId="{0083C70C-2966-48F7-AB46-04E10C74CAFC}" dt="2023-04-11T17:05:36.140" v="45" actId="1076"/>
        <pc:sldMkLst>
          <pc:docMk/>
          <pc:sldMk cId="2416396199" sldId="256"/>
        </pc:sldMkLst>
        <pc:graphicFrameChg chg="del modGraphic">
          <ac:chgData name="Cristian Camilo Herreno Mojica" userId="658f9461-302b-40d9-9197-71d4555011f2" providerId="ADAL" clId="{0083C70C-2966-48F7-AB46-04E10C74CAFC}" dt="2023-04-11T17:05:31.097" v="44" actId="478"/>
          <ac:graphicFrameMkLst>
            <pc:docMk/>
            <pc:sldMk cId="2416396199" sldId="256"/>
            <ac:graphicFrameMk id="2" creationId="{EBD3482E-71F2-4E6E-A5CE-A7D1A1A4299F}"/>
          </ac:graphicFrameMkLst>
        </pc:graphicFrameChg>
        <pc:graphicFrameChg chg="del">
          <ac:chgData name="Cristian Camilo Herreno Mojica" userId="658f9461-302b-40d9-9197-71d4555011f2" providerId="ADAL" clId="{0083C70C-2966-48F7-AB46-04E10C74CAFC}" dt="2023-04-11T17:05:09.201" v="39" actId="478"/>
          <ac:graphicFrameMkLst>
            <pc:docMk/>
            <pc:sldMk cId="2416396199" sldId="256"/>
            <ac:graphicFrameMk id="23" creationId="{87BEAFCA-27CA-F0A6-EA84-00AA856E23E1}"/>
          </ac:graphicFrameMkLst>
        </pc:graphicFrameChg>
        <pc:picChg chg="add mod">
          <ac:chgData name="Cristian Camilo Herreno Mojica" userId="658f9461-302b-40d9-9197-71d4555011f2" providerId="ADAL" clId="{0083C70C-2966-48F7-AB46-04E10C74CAFC}" dt="2023-04-11T17:05:14.228" v="40" actId="1076"/>
          <ac:picMkLst>
            <pc:docMk/>
            <pc:sldMk cId="2416396199" sldId="256"/>
            <ac:picMk id="6" creationId="{2576130A-9BB5-C36C-6501-9212E896D26B}"/>
          </ac:picMkLst>
        </pc:picChg>
        <pc:picChg chg="add mod">
          <ac:chgData name="Cristian Camilo Herreno Mojica" userId="658f9461-302b-40d9-9197-71d4555011f2" providerId="ADAL" clId="{0083C70C-2966-48F7-AB46-04E10C74CAFC}" dt="2023-04-11T17:05:36.140" v="45" actId="1076"/>
          <ac:picMkLst>
            <pc:docMk/>
            <pc:sldMk cId="2416396199" sldId="256"/>
            <ac:picMk id="7" creationId="{8F04E762-E0FD-5531-0DFE-79829B40D732}"/>
          </ac:picMkLst>
        </pc:picChg>
      </pc:sldChg>
      <pc:sldChg chg="addSp modSp mod">
        <pc:chgData name="Cristian Camilo Herreno Mojica" userId="658f9461-302b-40d9-9197-71d4555011f2" providerId="ADAL" clId="{0083C70C-2966-48F7-AB46-04E10C74CAFC}" dt="2023-04-11T14:10:34.072" v="21" actId="14100"/>
        <pc:sldMkLst>
          <pc:docMk/>
          <pc:sldMk cId="3628694684" sldId="262"/>
        </pc:sldMkLst>
        <pc:picChg chg="add mod">
          <ac:chgData name="Cristian Camilo Herreno Mojica" userId="658f9461-302b-40d9-9197-71d4555011f2" providerId="ADAL" clId="{0083C70C-2966-48F7-AB46-04E10C74CAFC}" dt="2023-04-11T14:10:34.072" v="21" actId="14100"/>
          <ac:picMkLst>
            <pc:docMk/>
            <pc:sldMk cId="3628694684" sldId="262"/>
            <ac:picMk id="5" creationId="{BBF741A3-64FB-91D3-7B31-0A1570E4AD59}"/>
          </ac:picMkLst>
        </pc:picChg>
      </pc:sldChg>
      <pc:sldChg chg="addSp delSp modSp mod">
        <pc:chgData name="Cristian Camilo Herreno Mojica" userId="658f9461-302b-40d9-9197-71d4555011f2" providerId="ADAL" clId="{0083C70C-2966-48F7-AB46-04E10C74CAFC}" dt="2023-04-19T22:21:26.555" v="138" actId="14100"/>
        <pc:sldMkLst>
          <pc:docMk/>
          <pc:sldMk cId="3680803950" sldId="2147471929"/>
        </pc:sldMkLst>
        <pc:spChg chg="mod">
          <ac:chgData name="Cristian Camilo Herreno Mojica" userId="658f9461-302b-40d9-9197-71d4555011f2" providerId="ADAL" clId="{0083C70C-2966-48F7-AB46-04E10C74CAFC}" dt="2023-04-19T21:56:36.330" v="50" actId="1076"/>
          <ac:spMkLst>
            <pc:docMk/>
            <pc:sldMk cId="3680803950" sldId="2147471929"/>
            <ac:spMk id="2" creationId="{A1364CB7-03B9-9609-4D48-3F1D238DEC3B}"/>
          </ac:spMkLst>
        </pc:spChg>
        <pc:spChg chg="del mod">
          <ac:chgData name="Cristian Camilo Herreno Mojica" userId="658f9461-302b-40d9-9197-71d4555011f2" providerId="ADAL" clId="{0083C70C-2966-48F7-AB46-04E10C74CAFC}" dt="2023-04-19T21:56:51.601" v="52" actId="478"/>
          <ac:spMkLst>
            <pc:docMk/>
            <pc:sldMk cId="3680803950" sldId="2147471929"/>
            <ac:spMk id="3" creationId="{8E251966-C2EA-E475-72AD-514AF2ACB244}"/>
          </ac:spMkLst>
        </pc:spChg>
        <pc:spChg chg="del mod">
          <ac:chgData name="Cristian Camilo Herreno Mojica" userId="658f9461-302b-40d9-9197-71d4555011f2" providerId="ADAL" clId="{0083C70C-2966-48F7-AB46-04E10C74CAFC}" dt="2023-04-19T21:56:19.508" v="47" actId="478"/>
          <ac:spMkLst>
            <pc:docMk/>
            <pc:sldMk cId="3680803950" sldId="2147471929"/>
            <ac:spMk id="5" creationId="{84A2C747-4829-62D9-34CC-5C1C34D3D041}"/>
          </ac:spMkLst>
        </pc:spChg>
        <pc:spChg chg="add del mod">
          <ac:chgData name="Cristian Camilo Herreno Mojica" userId="658f9461-302b-40d9-9197-71d4555011f2" providerId="ADAL" clId="{0083C70C-2966-48F7-AB46-04E10C74CAFC}" dt="2023-04-19T21:56:54.436" v="53" actId="478"/>
          <ac:spMkLst>
            <pc:docMk/>
            <pc:sldMk cId="3680803950" sldId="2147471929"/>
            <ac:spMk id="7" creationId="{B25E9E60-1588-F099-705E-9B3C4EBD19B7}"/>
          </ac:spMkLst>
        </pc:spChg>
        <pc:spChg chg="add del">
          <ac:chgData name="Cristian Camilo Herreno Mojica" userId="658f9461-302b-40d9-9197-71d4555011f2" providerId="ADAL" clId="{0083C70C-2966-48F7-AB46-04E10C74CAFC}" dt="2023-04-19T22:06:42.863" v="65"/>
          <ac:spMkLst>
            <pc:docMk/>
            <pc:sldMk cId="3680803950" sldId="2147471929"/>
            <ac:spMk id="10" creationId="{242E1A5F-B53A-2428-DC63-EDDA9A2696BD}"/>
          </ac:spMkLst>
        </pc:spChg>
        <pc:spChg chg="add del mod">
          <ac:chgData name="Cristian Camilo Herreno Mojica" userId="658f9461-302b-40d9-9197-71d4555011f2" providerId="ADAL" clId="{0083C70C-2966-48F7-AB46-04E10C74CAFC}" dt="2023-04-19T22:07:04.114" v="72"/>
          <ac:spMkLst>
            <pc:docMk/>
            <pc:sldMk cId="3680803950" sldId="2147471929"/>
            <ac:spMk id="11" creationId="{2D180B99-3B88-7D0B-BA0F-85E71A27A930}"/>
          </ac:spMkLst>
        </pc:spChg>
        <pc:spChg chg="add mod">
          <ac:chgData name="Cristian Camilo Herreno Mojica" userId="658f9461-302b-40d9-9197-71d4555011f2" providerId="ADAL" clId="{0083C70C-2966-48F7-AB46-04E10C74CAFC}" dt="2023-04-19T22:08:34.645" v="75" actId="1076"/>
          <ac:spMkLst>
            <pc:docMk/>
            <pc:sldMk cId="3680803950" sldId="2147471929"/>
            <ac:spMk id="12" creationId="{6AFB3D2D-F2A2-63D2-BB2E-A9B89A65AB28}"/>
          </ac:spMkLst>
        </pc:spChg>
        <pc:spChg chg="add del mod">
          <ac:chgData name="Cristian Camilo Herreno Mojica" userId="658f9461-302b-40d9-9197-71d4555011f2" providerId="ADAL" clId="{0083C70C-2966-48F7-AB46-04E10C74CAFC}" dt="2023-04-19T22:16:31.401" v="81" actId="478"/>
          <ac:spMkLst>
            <pc:docMk/>
            <pc:sldMk cId="3680803950" sldId="2147471929"/>
            <ac:spMk id="13" creationId="{7A15A26F-2829-5FE8-DF9F-8554E42CBC96}"/>
          </ac:spMkLst>
        </pc:spChg>
        <pc:spChg chg="add mod">
          <ac:chgData name="Cristian Camilo Herreno Mojica" userId="658f9461-302b-40d9-9197-71d4555011f2" providerId="ADAL" clId="{0083C70C-2966-48F7-AB46-04E10C74CAFC}" dt="2023-04-19T22:21:26.555" v="138" actId="14100"/>
          <ac:spMkLst>
            <pc:docMk/>
            <pc:sldMk cId="3680803950" sldId="2147471929"/>
            <ac:spMk id="14" creationId="{AC659470-242E-4F70-BE33-988B7F20169B}"/>
          </ac:spMkLst>
        </pc:spChg>
        <pc:graphicFrameChg chg="mod">
          <ac:chgData name="Cristian Camilo Herreno Mojica" userId="658f9461-302b-40d9-9197-71d4555011f2" providerId="ADAL" clId="{0083C70C-2966-48F7-AB46-04E10C74CAFC}" dt="2023-04-19T22:02:47.276" v="58"/>
          <ac:graphicFrameMkLst>
            <pc:docMk/>
            <pc:sldMk cId="3680803950" sldId="2147471929"/>
            <ac:graphicFrameMk id="4" creationId="{935EFDA8-052E-A918-3A84-B0B2E46B88FF}"/>
          </ac:graphicFrameMkLst>
        </pc:graphicFrameChg>
        <pc:picChg chg="add mod">
          <ac:chgData name="Cristian Camilo Herreno Mojica" userId="658f9461-302b-40d9-9197-71d4555011f2" providerId="ADAL" clId="{0083C70C-2966-48F7-AB46-04E10C74CAFC}" dt="2023-04-19T22:16:55.871" v="83" actId="1076"/>
          <ac:picMkLst>
            <pc:docMk/>
            <pc:sldMk cId="3680803950" sldId="2147471929"/>
            <ac:picMk id="9" creationId="{E1694411-EBA6-8E2C-7311-28BB64E5ECB2}"/>
          </ac:picMkLst>
        </pc:picChg>
      </pc:sldChg>
      <pc:sldChg chg="modSp mod">
        <pc:chgData name="Cristian Camilo Herreno Mojica" userId="658f9461-302b-40d9-9197-71d4555011f2" providerId="ADAL" clId="{0083C70C-2966-48F7-AB46-04E10C74CAFC}" dt="2023-04-11T17:05:42.122" v="46" actId="1076"/>
        <pc:sldMkLst>
          <pc:docMk/>
          <pc:sldMk cId="4087382537" sldId="2147471930"/>
        </pc:sldMkLst>
        <pc:spChg chg="mod">
          <ac:chgData name="Cristian Camilo Herreno Mojica" userId="658f9461-302b-40d9-9197-71d4555011f2" providerId="ADAL" clId="{0083C70C-2966-48F7-AB46-04E10C74CAFC}" dt="2023-04-11T14:04:24.791" v="18" actId="14100"/>
          <ac:spMkLst>
            <pc:docMk/>
            <pc:sldMk cId="4087382537" sldId="2147471930"/>
            <ac:spMk id="7" creationId="{15AFD44C-92D9-E843-7CA8-ABC0CBF5FBC9}"/>
          </ac:spMkLst>
        </pc:spChg>
        <pc:picChg chg="mod">
          <ac:chgData name="Cristian Camilo Herreno Mojica" userId="658f9461-302b-40d9-9197-71d4555011f2" providerId="ADAL" clId="{0083C70C-2966-48F7-AB46-04E10C74CAFC}" dt="2023-04-11T17:05:42.122" v="46" actId="1076"/>
          <ac:picMkLst>
            <pc:docMk/>
            <pc:sldMk cId="4087382537" sldId="2147471930"/>
            <ac:picMk id="14" creationId="{1760A151-CACC-CD74-2A2C-47D28BAC0B2D}"/>
          </ac:picMkLst>
        </pc:picChg>
      </pc:sldChg>
    </pc:docChg>
  </pc:docChgLst>
  <pc:docChgLst>
    <pc:chgData name="Cristian Camilo Herreno Mojica" userId="658f9461-302b-40d9-9197-71d4555011f2" providerId="ADAL" clId="{1AE6485A-6D16-4364-882C-4FD99568E1A6}"/>
    <pc:docChg chg="undo custSel addSld modSld">
      <pc:chgData name="Cristian Camilo Herreno Mojica" userId="658f9461-302b-40d9-9197-71d4555011f2" providerId="ADAL" clId="{1AE6485A-6D16-4364-882C-4FD99568E1A6}" dt="2023-05-03T14:19:40.158" v="1252" actId="20577"/>
      <pc:docMkLst>
        <pc:docMk/>
      </pc:docMkLst>
      <pc:sldChg chg="modSp mod modClrScheme chgLayout">
        <pc:chgData name="Cristian Camilo Herreno Mojica" userId="658f9461-302b-40d9-9197-71d4555011f2" providerId="ADAL" clId="{1AE6485A-6D16-4364-882C-4FD99568E1A6}" dt="2023-05-03T13:37:52.765" v="1130" actId="1076"/>
        <pc:sldMkLst>
          <pc:docMk/>
          <pc:sldMk cId="2416396199" sldId="256"/>
        </pc:sldMkLst>
        <pc:spChg chg="mod ord">
          <ac:chgData name="Cristian Camilo Herreno Mojica" userId="658f9461-302b-40d9-9197-71d4555011f2" providerId="ADAL" clId="{1AE6485A-6D16-4364-882C-4FD99568E1A6}" dt="2023-04-24T03:43:42.310" v="304" actId="1076"/>
          <ac:spMkLst>
            <pc:docMk/>
            <pc:sldMk cId="2416396199" sldId="256"/>
            <ac:spMk id="102" creationId="{C4F92E7D-EDF3-5405-8F7F-71FB052A0483}"/>
          </ac:spMkLst>
        </pc:spChg>
        <pc:graphicFrameChg chg="mod">
          <ac:chgData name="Cristian Camilo Herreno Mojica" userId="658f9461-302b-40d9-9197-71d4555011f2" providerId="ADAL" clId="{1AE6485A-6D16-4364-882C-4FD99568E1A6}" dt="2023-05-03T13:37:52.765" v="1130" actId="1076"/>
          <ac:graphicFrameMkLst>
            <pc:docMk/>
            <pc:sldMk cId="2416396199" sldId="256"/>
            <ac:graphicFrameMk id="8" creationId="{855D7380-A857-63D4-2AB8-FB8FDF7B6F0A}"/>
          </ac:graphicFrameMkLst>
        </pc:graphicFrameChg>
        <pc:graphicFrameChg chg="mod">
          <ac:chgData name="Cristian Camilo Herreno Mojica" userId="658f9461-302b-40d9-9197-71d4555011f2" providerId="ADAL" clId="{1AE6485A-6D16-4364-882C-4FD99568E1A6}" dt="2023-04-24T03:47:02.234" v="334" actId="1076"/>
          <ac:graphicFrameMkLst>
            <pc:docMk/>
            <pc:sldMk cId="2416396199" sldId="256"/>
            <ac:graphicFrameMk id="22" creationId="{B5749986-AD9E-F803-CF9B-A29D524C31B5}"/>
          </ac:graphicFrameMkLst>
        </pc:graphicFrameChg>
        <pc:picChg chg="mod">
          <ac:chgData name="Cristian Camilo Herreno Mojica" userId="658f9461-302b-40d9-9197-71d4555011f2" providerId="ADAL" clId="{1AE6485A-6D16-4364-882C-4FD99568E1A6}" dt="2023-04-24T03:47:06.411" v="335" actId="1076"/>
          <ac:picMkLst>
            <pc:docMk/>
            <pc:sldMk cId="2416396199" sldId="256"/>
            <ac:picMk id="6" creationId="{2576130A-9BB5-C36C-6501-9212E896D26B}"/>
          </ac:picMkLst>
        </pc:picChg>
      </pc:sldChg>
      <pc:sldChg chg="addSp delSp modSp mod modClrScheme chgLayout">
        <pc:chgData name="Cristian Camilo Herreno Mojica" userId="658f9461-302b-40d9-9197-71d4555011f2" providerId="ADAL" clId="{1AE6485A-6D16-4364-882C-4FD99568E1A6}" dt="2023-05-03T13:37:30.138" v="1123" actId="14100"/>
        <pc:sldMkLst>
          <pc:docMk/>
          <pc:sldMk cId="3628694684" sldId="262"/>
        </pc:sldMkLst>
        <pc:spChg chg="mod">
          <ac:chgData name="Cristian Camilo Herreno Mojica" userId="658f9461-302b-40d9-9197-71d4555011f2" providerId="ADAL" clId="{1AE6485A-6D16-4364-882C-4FD99568E1A6}" dt="2023-04-24T03:31:38.421" v="32" actId="27636"/>
          <ac:spMkLst>
            <pc:docMk/>
            <pc:sldMk cId="3628694684" sldId="262"/>
            <ac:spMk id="3" creationId="{6089AC97-4254-C528-5EB8-EB2140E1512A}"/>
          </ac:spMkLst>
        </pc:spChg>
        <pc:spChg chg="mod">
          <ac:chgData name="Cristian Camilo Herreno Mojica" userId="658f9461-302b-40d9-9197-71d4555011f2" providerId="ADAL" clId="{1AE6485A-6D16-4364-882C-4FD99568E1A6}" dt="2023-04-24T03:31:38.421" v="33" actId="27636"/>
          <ac:spMkLst>
            <pc:docMk/>
            <pc:sldMk cId="3628694684" sldId="262"/>
            <ac:spMk id="11" creationId="{086B8EEA-9A4E-D27A-865A-3B1DE85B9CEB}"/>
          </ac:spMkLst>
        </pc:spChg>
        <pc:spChg chg="mod ord">
          <ac:chgData name="Cristian Camilo Herreno Mojica" userId="658f9461-302b-40d9-9197-71d4555011f2" providerId="ADAL" clId="{1AE6485A-6D16-4364-882C-4FD99568E1A6}" dt="2023-04-24T03:44:05.710" v="309" actId="1076"/>
          <ac:spMkLst>
            <pc:docMk/>
            <pc:sldMk cId="3628694684" sldId="262"/>
            <ac:spMk id="95" creationId="{05A7844D-A3BC-96B6-1198-C009266D309C}"/>
          </ac:spMkLst>
        </pc:spChg>
        <pc:graphicFrameChg chg="add mod">
          <ac:chgData name="Cristian Camilo Herreno Mojica" userId="658f9461-302b-40d9-9197-71d4555011f2" providerId="ADAL" clId="{1AE6485A-6D16-4364-882C-4FD99568E1A6}" dt="2023-05-03T13:37:30.138" v="1123" actId="14100"/>
          <ac:graphicFrameMkLst>
            <pc:docMk/>
            <pc:sldMk cId="3628694684" sldId="262"/>
            <ac:graphicFrameMk id="2" creationId="{E12010F5-7686-69D5-1589-4FB0B107251C}"/>
          </ac:graphicFrameMkLst>
        </pc:graphicFrameChg>
        <pc:graphicFrameChg chg="del">
          <ac:chgData name="Cristian Camilo Herreno Mojica" userId="658f9461-302b-40d9-9197-71d4555011f2" providerId="ADAL" clId="{1AE6485A-6D16-4364-882C-4FD99568E1A6}" dt="2023-05-03T13:37:03.167" v="1115" actId="478"/>
          <ac:graphicFrameMkLst>
            <pc:docMk/>
            <pc:sldMk cId="3628694684" sldId="262"/>
            <ac:graphicFrameMk id="6" creationId="{20693321-46C8-7C70-42B5-4E53AD5B8E66}"/>
          </ac:graphicFrameMkLst>
        </pc:graphicFrameChg>
      </pc:sldChg>
      <pc:sldChg chg="addSp delSp modSp mod">
        <pc:chgData name="Cristian Camilo Herreno Mojica" userId="658f9461-302b-40d9-9197-71d4555011f2" providerId="ADAL" clId="{1AE6485A-6D16-4364-882C-4FD99568E1A6}" dt="2023-05-03T14:19:40.158" v="1252" actId="20577"/>
        <pc:sldMkLst>
          <pc:docMk/>
          <pc:sldMk cId="3680803950" sldId="2147471929"/>
        </pc:sldMkLst>
        <pc:spChg chg="add mod">
          <ac:chgData name="Cristian Camilo Herreno Mojica" userId="658f9461-302b-40d9-9197-71d4555011f2" providerId="ADAL" clId="{1AE6485A-6D16-4364-882C-4FD99568E1A6}" dt="2023-04-24T03:52:03.832" v="430" actId="20577"/>
          <ac:spMkLst>
            <pc:docMk/>
            <pc:sldMk cId="3680803950" sldId="2147471929"/>
            <ac:spMk id="3" creationId="{0A0ABCAA-2646-CCB6-AB22-97F328DCF14B}"/>
          </ac:spMkLst>
        </pc:spChg>
        <pc:spChg chg="mod">
          <ac:chgData name="Cristian Camilo Herreno Mojica" userId="658f9461-302b-40d9-9197-71d4555011f2" providerId="ADAL" clId="{1AE6485A-6D16-4364-882C-4FD99568E1A6}" dt="2023-05-03T14:19:40.158" v="1252" actId="20577"/>
          <ac:spMkLst>
            <pc:docMk/>
            <pc:sldMk cId="3680803950" sldId="2147471929"/>
            <ac:spMk id="99" creationId="{F6CDE7A2-4349-5914-0895-1F9EDC6CF48E}"/>
          </ac:spMkLst>
        </pc:spChg>
        <pc:spChg chg="del mod">
          <ac:chgData name="Cristian Camilo Herreno Mojica" userId="658f9461-302b-40d9-9197-71d4555011f2" providerId="ADAL" clId="{1AE6485A-6D16-4364-882C-4FD99568E1A6}" dt="2023-04-24T03:32:26.743" v="48" actId="478"/>
          <ac:spMkLst>
            <pc:docMk/>
            <pc:sldMk cId="3680803950" sldId="2147471929"/>
            <ac:spMk id="100" creationId="{67D6A061-65DB-5F0D-F95A-4578A88D43A0}"/>
          </ac:spMkLst>
        </pc:spChg>
        <pc:graphicFrameChg chg="mod">
          <ac:chgData name="Cristian Camilo Herreno Mojica" userId="658f9461-302b-40d9-9197-71d4555011f2" providerId="ADAL" clId="{1AE6485A-6D16-4364-882C-4FD99568E1A6}" dt="2023-05-03T13:36:55.763" v="1114" actId="1076"/>
          <ac:graphicFrameMkLst>
            <pc:docMk/>
            <pc:sldMk cId="3680803950" sldId="2147471929"/>
            <ac:graphicFrameMk id="4" creationId="{935EFDA8-052E-A918-3A84-B0B2E46B88FF}"/>
          </ac:graphicFrameMkLst>
        </pc:graphicFrameChg>
        <pc:graphicFrameChg chg="mod modGraphic">
          <ac:chgData name="Cristian Camilo Herreno Mojica" userId="658f9461-302b-40d9-9197-71d4555011f2" providerId="ADAL" clId="{1AE6485A-6D16-4364-882C-4FD99568E1A6}" dt="2023-05-03T13:24:39.373" v="622" actId="20577"/>
          <ac:graphicFrameMkLst>
            <pc:docMk/>
            <pc:sldMk cId="3680803950" sldId="2147471929"/>
            <ac:graphicFrameMk id="115" creationId="{72081D10-C479-ED8E-78B9-2E08C538C54F}"/>
          </ac:graphicFrameMkLst>
        </pc:graphicFrameChg>
      </pc:sldChg>
      <pc:sldChg chg="addSp delSp modSp mod modClrScheme chgLayout">
        <pc:chgData name="Cristian Camilo Herreno Mojica" userId="658f9461-302b-40d9-9197-71d4555011f2" providerId="ADAL" clId="{1AE6485A-6D16-4364-882C-4FD99568E1A6}" dt="2023-04-24T03:44:41.427" v="313" actId="1076"/>
        <pc:sldMkLst>
          <pc:docMk/>
          <pc:sldMk cId="4087382537" sldId="2147471930"/>
        </pc:sldMkLst>
        <pc:spChg chg="mod">
          <ac:chgData name="Cristian Camilo Herreno Mojica" userId="658f9461-302b-40d9-9197-71d4555011f2" providerId="ADAL" clId="{1AE6485A-6D16-4364-882C-4FD99568E1A6}" dt="2023-04-24T03:44:35.190" v="311" actId="1076"/>
          <ac:spMkLst>
            <pc:docMk/>
            <pc:sldMk cId="4087382537" sldId="2147471930"/>
            <ac:spMk id="6" creationId="{3B05F159-E42F-880F-2F4B-9A98354EE97A}"/>
          </ac:spMkLst>
        </pc:spChg>
        <pc:spChg chg="mod">
          <ac:chgData name="Cristian Camilo Herreno Mojica" userId="658f9461-302b-40d9-9197-71d4555011f2" providerId="ADAL" clId="{1AE6485A-6D16-4364-882C-4FD99568E1A6}" dt="2023-04-24T03:29:41.454" v="12" actId="1076"/>
          <ac:spMkLst>
            <pc:docMk/>
            <pc:sldMk cId="4087382537" sldId="2147471930"/>
            <ac:spMk id="7" creationId="{15AFD44C-92D9-E843-7CA8-ABC0CBF5FBC9}"/>
          </ac:spMkLst>
        </pc:spChg>
        <pc:spChg chg="add del mod ord">
          <ac:chgData name="Cristian Camilo Herreno Mojica" userId="658f9461-302b-40d9-9197-71d4555011f2" providerId="ADAL" clId="{1AE6485A-6D16-4364-882C-4FD99568E1A6}" dt="2023-04-24T03:42:45.622" v="292" actId="478"/>
          <ac:spMkLst>
            <pc:docMk/>
            <pc:sldMk cId="4087382537" sldId="2147471930"/>
            <ac:spMk id="10" creationId="{59DDD220-46C5-CE47-85EA-CF9F8ED74A9D}"/>
          </ac:spMkLst>
        </pc:spChg>
        <pc:picChg chg="del">
          <ac:chgData name="Cristian Camilo Herreno Mojica" userId="658f9461-302b-40d9-9197-71d4555011f2" providerId="ADAL" clId="{1AE6485A-6D16-4364-882C-4FD99568E1A6}" dt="2023-04-24T03:29:02.848" v="4" actId="478"/>
          <ac:picMkLst>
            <pc:docMk/>
            <pc:sldMk cId="4087382537" sldId="2147471930"/>
            <ac:picMk id="2" creationId="{E595DD1D-2DF9-5273-C317-1126AD456F09}"/>
          </ac:picMkLst>
        </pc:picChg>
        <pc:picChg chg="add mod">
          <ac:chgData name="Cristian Camilo Herreno Mojica" userId="658f9461-302b-40d9-9197-71d4555011f2" providerId="ADAL" clId="{1AE6485A-6D16-4364-882C-4FD99568E1A6}" dt="2023-04-24T03:44:41.427" v="313" actId="1076"/>
          <ac:picMkLst>
            <pc:docMk/>
            <pc:sldMk cId="4087382537" sldId="2147471930"/>
            <ac:picMk id="5" creationId="{A3B2EE9F-9B28-2B2E-9C87-37201364F498}"/>
          </ac:picMkLst>
        </pc:picChg>
        <pc:picChg chg="add mod">
          <ac:chgData name="Cristian Camilo Herreno Mojica" userId="658f9461-302b-40d9-9197-71d4555011f2" providerId="ADAL" clId="{1AE6485A-6D16-4364-882C-4FD99568E1A6}" dt="2023-04-24T03:44:39.052" v="312" actId="1076"/>
          <ac:picMkLst>
            <pc:docMk/>
            <pc:sldMk cId="4087382537" sldId="2147471930"/>
            <ac:picMk id="9" creationId="{AA611D0B-6BE2-8ED6-2D88-C750E8E7577C}"/>
          </ac:picMkLst>
        </pc:picChg>
        <pc:picChg chg="del">
          <ac:chgData name="Cristian Camilo Herreno Mojica" userId="658f9461-302b-40d9-9197-71d4555011f2" providerId="ADAL" clId="{1AE6485A-6D16-4364-882C-4FD99568E1A6}" dt="2023-04-24T03:26:00.152" v="0" actId="478"/>
          <ac:picMkLst>
            <pc:docMk/>
            <pc:sldMk cId="4087382537" sldId="2147471930"/>
            <ac:picMk id="14" creationId="{1760A151-CACC-CD74-2A2C-47D28BAC0B2D}"/>
          </ac:picMkLst>
        </pc:picChg>
      </pc:sldChg>
      <pc:sldChg chg="addSp delSp modSp mod modClrScheme chgLayout">
        <pc:chgData name="Cristian Camilo Herreno Mojica" userId="658f9461-302b-40d9-9197-71d4555011f2" providerId="ADAL" clId="{1AE6485A-6D16-4364-882C-4FD99568E1A6}" dt="2023-04-24T03:45:12.347" v="319" actId="1076"/>
        <pc:sldMkLst>
          <pc:docMk/>
          <pc:sldMk cId="1553401313" sldId="2147471931"/>
        </pc:sldMkLst>
        <pc:spChg chg="add del mod ord">
          <ac:chgData name="Cristian Camilo Herreno Mojica" userId="658f9461-302b-40d9-9197-71d4555011f2" providerId="ADAL" clId="{1AE6485A-6D16-4364-882C-4FD99568E1A6}" dt="2023-04-24T03:43:03.231" v="294" actId="478"/>
          <ac:spMkLst>
            <pc:docMk/>
            <pc:sldMk cId="1553401313" sldId="2147471931"/>
            <ac:spMk id="2" creationId="{55A19DFD-FA90-AD1F-087C-1BEAF73E75E2}"/>
          </ac:spMkLst>
        </pc:spChg>
        <pc:spChg chg="mod">
          <ac:chgData name="Cristian Camilo Herreno Mojica" userId="658f9461-302b-40d9-9197-71d4555011f2" providerId="ADAL" clId="{1AE6485A-6D16-4364-882C-4FD99568E1A6}" dt="2023-04-24T03:45:01.607" v="316" actId="1076"/>
          <ac:spMkLst>
            <pc:docMk/>
            <pc:sldMk cId="1553401313" sldId="2147471931"/>
            <ac:spMk id="9" creationId="{98E11D55-E22C-F8D1-7E6A-D9BB84B91F2A}"/>
          </ac:spMkLst>
        </pc:spChg>
        <pc:spChg chg="mod">
          <ac:chgData name="Cristian Camilo Herreno Mojica" userId="658f9461-302b-40d9-9197-71d4555011f2" providerId="ADAL" clId="{1AE6485A-6D16-4364-882C-4FD99568E1A6}" dt="2023-04-24T03:45:12.347" v="319" actId="1076"/>
          <ac:spMkLst>
            <pc:docMk/>
            <pc:sldMk cId="1553401313" sldId="2147471931"/>
            <ac:spMk id="16" creationId="{32B93DC1-8AD1-F0CD-184C-F6AA2527EF4C}"/>
          </ac:spMkLst>
        </pc:spChg>
      </pc:sldChg>
      <pc:sldChg chg="addSp delSp modSp mod">
        <pc:chgData name="Cristian Camilo Herreno Mojica" userId="658f9461-302b-40d9-9197-71d4555011f2" providerId="ADAL" clId="{1AE6485A-6D16-4364-882C-4FD99568E1A6}" dt="2023-05-03T13:27:23.059" v="836" actId="20577"/>
        <pc:sldMkLst>
          <pc:docMk/>
          <pc:sldMk cId="3882441226" sldId="2147471932"/>
        </pc:sldMkLst>
        <pc:spChg chg="add mod">
          <ac:chgData name="Cristian Camilo Herreno Mojica" userId="658f9461-302b-40d9-9197-71d4555011f2" providerId="ADAL" clId="{1AE6485A-6D16-4364-882C-4FD99568E1A6}" dt="2023-04-24T03:39:44.261" v="281" actId="1076"/>
          <ac:spMkLst>
            <pc:docMk/>
            <pc:sldMk cId="3882441226" sldId="2147471932"/>
            <ac:spMk id="3" creationId="{9B17DCFD-5429-D08C-B9E1-716DD9DFFEB8}"/>
          </ac:spMkLst>
        </pc:spChg>
        <pc:spChg chg="add del">
          <ac:chgData name="Cristian Camilo Herreno Mojica" userId="658f9461-302b-40d9-9197-71d4555011f2" providerId="ADAL" clId="{1AE6485A-6D16-4364-882C-4FD99568E1A6}" dt="2023-04-24T03:35:28.708" v="241" actId="478"/>
          <ac:spMkLst>
            <pc:docMk/>
            <pc:sldMk cId="3882441226" sldId="2147471932"/>
            <ac:spMk id="4" creationId="{37EDB261-73DA-64AD-A6A9-960AA96131D8}"/>
          </ac:spMkLst>
        </pc:spChg>
        <pc:spChg chg="mod">
          <ac:chgData name="Cristian Camilo Herreno Mojica" userId="658f9461-302b-40d9-9197-71d4555011f2" providerId="ADAL" clId="{1AE6485A-6D16-4364-882C-4FD99568E1A6}" dt="2023-04-24T03:40:51.534" v="288" actId="1076"/>
          <ac:spMkLst>
            <pc:docMk/>
            <pc:sldMk cId="3882441226" sldId="2147471932"/>
            <ac:spMk id="40" creationId="{E4095FB4-28B9-4A86-17C6-B59A87329A34}"/>
          </ac:spMkLst>
        </pc:spChg>
        <pc:spChg chg="mod">
          <ac:chgData name="Cristian Camilo Herreno Mojica" userId="658f9461-302b-40d9-9197-71d4555011f2" providerId="ADAL" clId="{1AE6485A-6D16-4364-882C-4FD99568E1A6}" dt="2023-04-24T03:40:54.663" v="289" actId="1076"/>
          <ac:spMkLst>
            <pc:docMk/>
            <pc:sldMk cId="3882441226" sldId="2147471932"/>
            <ac:spMk id="238" creationId="{361FAB55-514D-5426-2B53-457950FEC293}"/>
          </ac:spMkLst>
        </pc:spChg>
        <pc:spChg chg="del">
          <ac:chgData name="Cristian Camilo Herreno Mojica" userId="658f9461-302b-40d9-9197-71d4555011f2" providerId="ADAL" clId="{1AE6485A-6D16-4364-882C-4FD99568E1A6}" dt="2023-04-24T03:34:44.546" v="232" actId="478"/>
          <ac:spMkLst>
            <pc:docMk/>
            <pc:sldMk cId="3882441226" sldId="2147471932"/>
            <ac:spMk id="239" creationId="{CF803CD6-7531-D827-CC46-52D4A66F17F7}"/>
          </ac:spMkLst>
        </pc:spChg>
        <pc:spChg chg="mod">
          <ac:chgData name="Cristian Camilo Herreno Mojica" userId="658f9461-302b-40d9-9197-71d4555011f2" providerId="ADAL" clId="{1AE6485A-6D16-4364-882C-4FD99568E1A6}" dt="2023-04-24T03:41:01.127" v="290" actId="1076"/>
          <ac:spMkLst>
            <pc:docMk/>
            <pc:sldMk cId="3882441226" sldId="2147471932"/>
            <ac:spMk id="240" creationId="{9B5874CA-3336-74EA-B5F3-69703CB9298A}"/>
          </ac:spMkLst>
        </pc:spChg>
        <pc:spChg chg="mod">
          <ac:chgData name="Cristian Camilo Herreno Mojica" userId="658f9461-302b-40d9-9197-71d4555011f2" providerId="ADAL" clId="{1AE6485A-6D16-4364-882C-4FD99568E1A6}" dt="2023-04-24T03:39:47.577" v="282" actId="1076"/>
          <ac:spMkLst>
            <pc:docMk/>
            <pc:sldMk cId="3882441226" sldId="2147471932"/>
            <ac:spMk id="241" creationId="{9D3B0B71-7335-D703-8BEB-3B3011A13CAC}"/>
          </ac:spMkLst>
        </pc:spChg>
        <pc:spChg chg="mod">
          <ac:chgData name="Cristian Camilo Herreno Mojica" userId="658f9461-302b-40d9-9197-71d4555011f2" providerId="ADAL" clId="{1AE6485A-6D16-4364-882C-4FD99568E1A6}" dt="2023-04-24T03:40:27.653" v="286" actId="1076"/>
          <ac:spMkLst>
            <pc:docMk/>
            <pc:sldMk cId="3882441226" sldId="2147471932"/>
            <ac:spMk id="242" creationId="{DFC32347-FE47-19D3-D6BE-31688A09A340}"/>
          </ac:spMkLst>
        </pc:spChg>
        <pc:spChg chg="mod">
          <ac:chgData name="Cristian Camilo Herreno Mojica" userId="658f9461-302b-40d9-9197-71d4555011f2" providerId="ADAL" clId="{1AE6485A-6D16-4364-882C-4FD99568E1A6}" dt="2023-05-03T13:26:56.443" v="832" actId="14100"/>
          <ac:spMkLst>
            <pc:docMk/>
            <pc:sldMk cId="3882441226" sldId="2147471932"/>
            <ac:spMk id="243" creationId="{BD674C18-8336-2B26-AE5D-4BEBCE2BAF43}"/>
          </ac:spMkLst>
        </pc:spChg>
        <pc:graphicFrameChg chg="modGraphic">
          <ac:chgData name="Cristian Camilo Herreno Mojica" userId="658f9461-302b-40d9-9197-71d4555011f2" providerId="ADAL" clId="{1AE6485A-6D16-4364-882C-4FD99568E1A6}" dt="2023-05-03T13:27:23.059" v="836" actId="20577"/>
          <ac:graphicFrameMkLst>
            <pc:docMk/>
            <pc:sldMk cId="3882441226" sldId="2147471932"/>
            <ac:graphicFrameMk id="70" creationId="{FC889C7D-262A-CF5A-6CB4-34D3F038E663}"/>
          </ac:graphicFrameMkLst>
        </pc:graphicFrameChg>
      </pc:sldChg>
      <pc:sldChg chg="delSp modSp add mod">
        <pc:chgData name="Cristian Camilo Herreno Mojica" userId="658f9461-302b-40d9-9197-71d4555011f2" providerId="ADAL" clId="{1AE6485A-6D16-4364-882C-4FD99568E1A6}" dt="2023-05-03T13:36:31.970" v="1108"/>
        <pc:sldMkLst>
          <pc:docMk/>
          <pc:sldMk cId="2131769926" sldId="2147471933"/>
        </pc:sldMkLst>
        <pc:spChg chg="del">
          <ac:chgData name="Cristian Camilo Herreno Mojica" userId="658f9461-302b-40d9-9197-71d4555011f2" providerId="ADAL" clId="{1AE6485A-6D16-4364-882C-4FD99568E1A6}" dt="2023-05-03T13:28:49.260" v="839" actId="478"/>
          <ac:spMkLst>
            <pc:docMk/>
            <pc:sldMk cId="2131769926" sldId="2147471933"/>
            <ac:spMk id="3" creationId="{0A0ABCAA-2646-CCB6-AB22-97F328DCF14B}"/>
          </ac:spMkLst>
        </pc:spChg>
        <pc:spChg chg="del">
          <ac:chgData name="Cristian Camilo Herreno Mojica" userId="658f9461-302b-40d9-9197-71d4555011f2" providerId="ADAL" clId="{1AE6485A-6D16-4364-882C-4FD99568E1A6}" dt="2023-05-03T13:28:46.473" v="838" actId="478"/>
          <ac:spMkLst>
            <pc:docMk/>
            <pc:sldMk cId="2131769926" sldId="2147471933"/>
            <ac:spMk id="99" creationId="{F6CDE7A2-4349-5914-0895-1F9EDC6CF48E}"/>
          </ac:spMkLst>
        </pc:spChg>
        <pc:graphicFrameChg chg="mod modGraphic">
          <ac:chgData name="Cristian Camilo Herreno Mojica" userId="658f9461-302b-40d9-9197-71d4555011f2" providerId="ADAL" clId="{1AE6485A-6D16-4364-882C-4FD99568E1A6}" dt="2023-05-03T13:36:31.970" v="1108"/>
          <ac:graphicFrameMkLst>
            <pc:docMk/>
            <pc:sldMk cId="2131769926" sldId="2147471933"/>
            <ac:graphicFrameMk id="4" creationId="{935EFDA8-052E-A918-3A84-B0B2E46B88FF}"/>
          </ac:graphicFrameMkLst>
        </pc:graphicFrameChg>
        <pc:graphicFrameChg chg="del">
          <ac:chgData name="Cristian Camilo Herreno Mojica" userId="658f9461-302b-40d9-9197-71d4555011f2" providerId="ADAL" clId="{1AE6485A-6D16-4364-882C-4FD99568E1A6}" dt="2023-05-03T13:28:51.681" v="840" actId="478"/>
          <ac:graphicFrameMkLst>
            <pc:docMk/>
            <pc:sldMk cId="2131769926" sldId="2147471933"/>
            <ac:graphicFrameMk id="115" creationId="{72081D10-C479-ED8E-78B9-2E08C538C54F}"/>
          </ac:graphicFrameMkLst>
        </pc:graphicFrameChg>
      </pc:sldChg>
      <pc:sldChg chg="addSp delSp modSp add mod">
        <pc:chgData name="Cristian Camilo Herreno Mojica" userId="658f9461-302b-40d9-9197-71d4555011f2" providerId="ADAL" clId="{1AE6485A-6D16-4364-882C-4FD99568E1A6}" dt="2023-05-03T14:17:19.819" v="1250" actId="1076"/>
        <pc:sldMkLst>
          <pc:docMk/>
          <pc:sldMk cId="6166798" sldId="2147471934"/>
        </pc:sldMkLst>
        <pc:spChg chg="mod">
          <ac:chgData name="Cristian Camilo Herreno Mojica" userId="658f9461-302b-40d9-9197-71d4555011f2" providerId="ADAL" clId="{1AE6485A-6D16-4364-882C-4FD99568E1A6}" dt="2023-05-03T14:17:17.563" v="1249" actId="1076"/>
          <ac:spMkLst>
            <pc:docMk/>
            <pc:sldMk cId="6166798" sldId="2147471934"/>
            <ac:spMk id="2" creationId="{A1364CB7-03B9-9609-4D48-3F1D238DEC3B}"/>
          </ac:spMkLst>
        </pc:spChg>
        <pc:spChg chg="del">
          <ac:chgData name="Cristian Camilo Herreno Mojica" userId="658f9461-302b-40d9-9197-71d4555011f2" providerId="ADAL" clId="{1AE6485A-6D16-4364-882C-4FD99568E1A6}" dt="2023-05-03T13:58:35.838" v="1134" actId="478"/>
          <ac:spMkLst>
            <pc:docMk/>
            <pc:sldMk cId="6166798" sldId="2147471934"/>
            <ac:spMk id="3" creationId="{9B17DCFD-5429-D08C-B9E1-716DD9DFFEB8}"/>
          </ac:spMkLst>
        </pc:spChg>
        <pc:spChg chg="add mod">
          <ac:chgData name="Cristian Camilo Herreno Mojica" userId="658f9461-302b-40d9-9197-71d4555011f2" providerId="ADAL" clId="{1AE6485A-6D16-4364-882C-4FD99568E1A6}" dt="2023-05-03T14:17:19.819" v="1250" actId="1076"/>
          <ac:spMkLst>
            <pc:docMk/>
            <pc:sldMk cId="6166798" sldId="2147471934"/>
            <ac:spMk id="5" creationId="{2706DE3F-57EE-0F13-BA4B-9353122E6151}"/>
          </ac:spMkLst>
        </pc:spChg>
        <pc:spChg chg="del">
          <ac:chgData name="Cristian Camilo Herreno Mojica" userId="658f9461-302b-40d9-9197-71d4555011f2" providerId="ADAL" clId="{1AE6485A-6D16-4364-882C-4FD99568E1A6}" dt="2023-05-03T13:58:34.161" v="1133" actId="478"/>
          <ac:spMkLst>
            <pc:docMk/>
            <pc:sldMk cId="6166798" sldId="2147471934"/>
            <ac:spMk id="40" creationId="{E4095FB4-28B9-4A86-17C6-B59A87329A34}"/>
          </ac:spMkLst>
        </pc:spChg>
        <pc:spChg chg="del">
          <ac:chgData name="Cristian Camilo Herreno Mojica" userId="658f9461-302b-40d9-9197-71d4555011f2" providerId="ADAL" clId="{1AE6485A-6D16-4364-882C-4FD99568E1A6}" dt="2023-05-03T13:58:44.716" v="1137" actId="478"/>
          <ac:spMkLst>
            <pc:docMk/>
            <pc:sldMk cId="6166798" sldId="2147471934"/>
            <ac:spMk id="51" creationId="{A68DFC12-F473-FED6-479D-675979E7F0C9}"/>
          </ac:spMkLst>
        </pc:spChg>
        <pc:spChg chg="del">
          <ac:chgData name="Cristian Camilo Herreno Mojica" userId="658f9461-302b-40d9-9197-71d4555011f2" providerId="ADAL" clId="{1AE6485A-6D16-4364-882C-4FD99568E1A6}" dt="2023-05-03T13:58:44.716" v="1137" actId="478"/>
          <ac:spMkLst>
            <pc:docMk/>
            <pc:sldMk cId="6166798" sldId="2147471934"/>
            <ac:spMk id="54" creationId="{07F50ABA-5081-F952-A92B-47610AC1AEF8}"/>
          </ac:spMkLst>
        </pc:spChg>
        <pc:spChg chg="del">
          <ac:chgData name="Cristian Camilo Herreno Mojica" userId="658f9461-302b-40d9-9197-71d4555011f2" providerId="ADAL" clId="{1AE6485A-6D16-4364-882C-4FD99568E1A6}" dt="2023-05-03T13:58:38.600" v="1135" actId="478"/>
          <ac:spMkLst>
            <pc:docMk/>
            <pc:sldMk cId="6166798" sldId="2147471934"/>
            <ac:spMk id="69" creationId="{02A7BC19-1227-92BB-14DE-5FB0B26ADDED}"/>
          </ac:spMkLst>
        </pc:spChg>
        <pc:spChg chg="del">
          <ac:chgData name="Cristian Camilo Herreno Mojica" userId="658f9461-302b-40d9-9197-71d4555011f2" providerId="ADAL" clId="{1AE6485A-6D16-4364-882C-4FD99568E1A6}" dt="2023-05-03T13:58:41.485" v="1136" actId="478"/>
          <ac:spMkLst>
            <pc:docMk/>
            <pc:sldMk cId="6166798" sldId="2147471934"/>
            <ac:spMk id="72" creationId="{CE471F4E-64D8-C19E-EF44-240579ED9521}"/>
          </ac:spMkLst>
        </pc:spChg>
        <pc:spChg chg="del">
          <ac:chgData name="Cristian Camilo Herreno Mojica" userId="658f9461-302b-40d9-9197-71d4555011f2" providerId="ADAL" clId="{1AE6485A-6D16-4364-882C-4FD99568E1A6}" dt="2023-05-03T13:58:38.600" v="1135" actId="478"/>
          <ac:spMkLst>
            <pc:docMk/>
            <pc:sldMk cId="6166798" sldId="2147471934"/>
            <ac:spMk id="238" creationId="{361FAB55-514D-5426-2B53-457950FEC293}"/>
          </ac:spMkLst>
        </pc:spChg>
        <pc:spChg chg="del">
          <ac:chgData name="Cristian Camilo Herreno Mojica" userId="658f9461-302b-40d9-9197-71d4555011f2" providerId="ADAL" clId="{1AE6485A-6D16-4364-882C-4FD99568E1A6}" dt="2023-05-03T13:58:38.600" v="1135" actId="478"/>
          <ac:spMkLst>
            <pc:docMk/>
            <pc:sldMk cId="6166798" sldId="2147471934"/>
            <ac:spMk id="240" creationId="{9B5874CA-3336-74EA-B5F3-69703CB9298A}"/>
          </ac:spMkLst>
        </pc:spChg>
        <pc:spChg chg="del">
          <ac:chgData name="Cristian Camilo Herreno Mojica" userId="658f9461-302b-40d9-9197-71d4555011f2" providerId="ADAL" clId="{1AE6485A-6D16-4364-882C-4FD99568E1A6}" dt="2023-05-03T13:58:38.600" v="1135" actId="478"/>
          <ac:spMkLst>
            <pc:docMk/>
            <pc:sldMk cId="6166798" sldId="2147471934"/>
            <ac:spMk id="241" creationId="{9D3B0B71-7335-D703-8BEB-3B3011A13CAC}"/>
          </ac:spMkLst>
        </pc:spChg>
        <pc:spChg chg="del">
          <ac:chgData name="Cristian Camilo Herreno Mojica" userId="658f9461-302b-40d9-9197-71d4555011f2" providerId="ADAL" clId="{1AE6485A-6D16-4364-882C-4FD99568E1A6}" dt="2023-05-03T13:58:38.600" v="1135" actId="478"/>
          <ac:spMkLst>
            <pc:docMk/>
            <pc:sldMk cId="6166798" sldId="2147471934"/>
            <ac:spMk id="242" creationId="{DFC32347-FE47-19D3-D6BE-31688A09A340}"/>
          </ac:spMkLst>
        </pc:spChg>
        <pc:spChg chg="del">
          <ac:chgData name="Cristian Camilo Herreno Mojica" userId="658f9461-302b-40d9-9197-71d4555011f2" providerId="ADAL" clId="{1AE6485A-6D16-4364-882C-4FD99568E1A6}" dt="2023-05-03T13:58:38.600" v="1135" actId="478"/>
          <ac:spMkLst>
            <pc:docMk/>
            <pc:sldMk cId="6166798" sldId="2147471934"/>
            <ac:spMk id="243" creationId="{BD674C18-8336-2B26-AE5D-4BEBCE2BAF43}"/>
          </ac:spMkLst>
        </pc:spChg>
        <pc:spChg chg="del">
          <ac:chgData name="Cristian Camilo Herreno Mojica" userId="658f9461-302b-40d9-9197-71d4555011f2" providerId="ADAL" clId="{1AE6485A-6D16-4364-882C-4FD99568E1A6}" dt="2023-05-03T13:58:38.600" v="1135" actId="478"/>
          <ac:spMkLst>
            <pc:docMk/>
            <pc:sldMk cId="6166798" sldId="2147471934"/>
            <ac:spMk id="244" creationId="{4E6A643E-FF81-BA2B-B899-DE05952DEA06}"/>
          </ac:spMkLst>
        </pc:spChg>
        <pc:graphicFrameChg chg="del">
          <ac:chgData name="Cristian Camilo Herreno Mojica" userId="658f9461-302b-40d9-9197-71d4555011f2" providerId="ADAL" clId="{1AE6485A-6D16-4364-882C-4FD99568E1A6}" dt="2023-05-03T13:58:38.600" v="1135" actId="478"/>
          <ac:graphicFrameMkLst>
            <pc:docMk/>
            <pc:sldMk cId="6166798" sldId="2147471934"/>
            <ac:graphicFrameMk id="70" creationId="{FC889C7D-262A-CF5A-6CB4-34D3F038E663}"/>
          </ac:graphicFrameMkLst>
        </pc:graphicFrameChg>
        <pc:picChg chg="del">
          <ac:chgData name="Cristian Camilo Herreno Mojica" userId="658f9461-302b-40d9-9197-71d4555011f2" providerId="ADAL" clId="{1AE6485A-6D16-4364-882C-4FD99568E1A6}" dt="2023-05-03T13:58:38.600" v="1135" actId="478"/>
          <ac:picMkLst>
            <pc:docMk/>
            <pc:sldMk cId="6166798" sldId="2147471934"/>
            <ac:picMk id="9" creationId="{E1694411-EBA6-8E2C-7311-28BB64E5ECB2}"/>
          </ac:picMkLst>
        </pc:picChg>
        <pc:picChg chg="del">
          <ac:chgData name="Cristian Camilo Herreno Mojica" userId="658f9461-302b-40d9-9197-71d4555011f2" providerId="ADAL" clId="{1AE6485A-6D16-4364-882C-4FD99568E1A6}" dt="2023-05-03T13:58:38.600" v="1135" actId="478"/>
          <ac:picMkLst>
            <pc:docMk/>
            <pc:sldMk cId="6166798" sldId="2147471934"/>
            <ac:picMk id="53" creationId="{AF1F9B25-4DE8-BF02-A594-9632D4DD9F85}"/>
          </ac:picMkLst>
        </pc:picChg>
        <pc:picChg chg="del">
          <ac:chgData name="Cristian Camilo Herreno Mojica" userId="658f9461-302b-40d9-9197-71d4555011f2" providerId="ADAL" clId="{1AE6485A-6D16-4364-882C-4FD99568E1A6}" dt="2023-05-03T13:58:38.600" v="1135" actId="478"/>
          <ac:picMkLst>
            <pc:docMk/>
            <pc:sldMk cId="6166798" sldId="2147471934"/>
            <ac:picMk id="71" creationId="{33B73961-7166-F54C-A05B-BDD705294036}"/>
          </ac:picMkLst>
        </pc:picChg>
      </pc:sldChg>
    </pc:docChg>
  </pc:docChgLst>
  <pc:docChgLst>
    <pc:chgData name="cristian herreño" userId="05d99c3bd9b61c80" providerId="Windows Live" clId="Web-{7B9934FD-540C-45AA-ADCB-B6EC875688F6}"/>
    <pc:docChg chg="addSld modSld sldOrd">
      <pc:chgData name="cristian herreño" userId="05d99c3bd9b61c80" providerId="Windows Live" clId="Web-{7B9934FD-540C-45AA-ADCB-B6EC875688F6}" dt="2023-04-24T00:22:59.392" v="5333"/>
      <pc:docMkLst>
        <pc:docMk/>
      </pc:docMkLst>
      <pc:sldChg chg="addSp delSp modSp ord">
        <pc:chgData name="cristian herreño" userId="05d99c3bd9b61c80" providerId="Windows Live" clId="Web-{7B9934FD-540C-45AA-ADCB-B6EC875688F6}" dt="2023-04-24T00:20:43.029" v="5279" actId="20577"/>
        <pc:sldMkLst>
          <pc:docMk/>
          <pc:sldMk cId="2416396199" sldId="256"/>
        </pc:sldMkLst>
        <pc:spChg chg="del mod">
          <ac:chgData name="cristian herreño" userId="05d99c3bd9b61c80" providerId="Windows Live" clId="Web-{7B9934FD-540C-45AA-ADCB-B6EC875688F6}" dt="2023-04-23T21:50:43.774" v="65"/>
          <ac:spMkLst>
            <pc:docMk/>
            <pc:sldMk cId="2416396199" sldId="256"/>
            <ac:spMk id="3" creationId="{6089AC97-4254-C528-5EB8-EB2140E1512A}"/>
          </ac:spMkLst>
        </pc:spChg>
        <pc:spChg chg="mod">
          <ac:chgData name="cristian herreño" userId="05d99c3bd9b61c80" providerId="Windows Live" clId="Web-{7B9934FD-540C-45AA-ADCB-B6EC875688F6}" dt="2023-04-23T21:55:28.311" v="304" actId="1076"/>
          <ac:spMkLst>
            <pc:docMk/>
            <pc:sldMk cId="2416396199" sldId="256"/>
            <ac:spMk id="4" creationId="{236C2A87-26FB-B3C4-6524-27342C42514E}"/>
          </ac:spMkLst>
        </pc:spChg>
        <pc:spChg chg="mod">
          <ac:chgData name="cristian herreño" userId="05d99c3bd9b61c80" providerId="Windows Live" clId="Web-{7B9934FD-540C-45AA-ADCB-B6EC875688F6}" dt="2023-04-23T21:49:07.382" v="46" actId="1076"/>
          <ac:spMkLst>
            <pc:docMk/>
            <pc:sldMk cId="2416396199" sldId="256"/>
            <ac:spMk id="5" creationId="{59548B79-E27D-889C-F35B-5AFEB60B0084}"/>
          </ac:spMkLst>
        </pc:spChg>
        <pc:spChg chg="add mod">
          <ac:chgData name="cristian herreño" userId="05d99c3bd9b61c80" providerId="Windows Live" clId="Web-{7B9934FD-540C-45AA-ADCB-B6EC875688F6}" dt="2023-04-24T00:20:43.029" v="5279" actId="20577"/>
          <ac:spMkLst>
            <pc:docMk/>
            <pc:sldMk cId="2416396199" sldId="256"/>
            <ac:spMk id="102" creationId="{C4F92E7D-EDF3-5405-8F7F-71FB052A0483}"/>
          </ac:spMkLst>
        </pc:spChg>
        <pc:spChg chg="add mod">
          <ac:chgData name="cristian herreño" userId="05d99c3bd9b61c80" providerId="Windows Live" clId="Web-{7B9934FD-540C-45AA-ADCB-B6EC875688F6}" dt="2023-04-23T21:54:46.639" v="251" actId="1076"/>
          <ac:spMkLst>
            <pc:docMk/>
            <pc:sldMk cId="2416396199" sldId="256"/>
            <ac:spMk id="187" creationId="{99A44BF4-202B-4407-6374-910F0976EAF0}"/>
          </ac:spMkLst>
        </pc:spChg>
        <pc:graphicFrameChg chg="add mod modGraphic">
          <ac:chgData name="cristian herreño" userId="05d99c3bd9b61c80" providerId="Windows Live" clId="Web-{7B9934FD-540C-45AA-ADCB-B6EC875688F6}" dt="2023-04-23T21:53:13.434" v="198" actId="1076"/>
          <ac:graphicFrameMkLst>
            <pc:docMk/>
            <pc:sldMk cId="2416396199" sldId="256"/>
            <ac:graphicFrameMk id="8" creationId="{855D7380-A857-63D4-2AB8-FB8FDF7B6F0A}"/>
          </ac:graphicFrameMkLst>
        </pc:graphicFrameChg>
        <pc:graphicFrameChg chg="mod modGraphic">
          <ac:chgData name="cristian herreño" userId="05d99c3bd9b61c80" providerId="Windows Live" clId="Web-{7B9934FD-540C-45AA-ADCB-B6EC875688F6}" dt="2023-04-23T21:54:52.529" v="303"/>
          <ac:graphicFrameMkLst>
            <pc:docMk/>
            <pc:sldMk cId="2416396199" sldId="256"/>
            <ac:graphicFrameMk id="22" creationId="{B5749986-AD9E-F803-CF9B-A29D524C31B5}"/>
          </ac:graphicFrameMkLst>
        </pc:graphicFrameChg>
        <pc:picChg chg="mod">
          <ac:chgData name="cristian herreño" userId="05d99c3bd9b61c80" providerId="Windows Live" clId="Web-{7B9934FD-540C-45AA-ADCB-B6EC875688F6}" dt="2023-04-23T22:46:20.625" v="1223" actId="14100"/>
          <ac:picMkLst>
            <pc:docMk/>
            <pc:sldMk cId="2416396199" sldId="256"/>
            <ac:picMk id="6" creationId="{2576130A-9BB5-C36C-6501-9212E896D26B}"/>
          </ac:picMkLst>
        </pc:picChg>
        <pc:picChg chg="mod modCrop">
          <ac:chgData name="cristian herreño" userId="05d99c3bd9b61c80" providerId="Windows Live" clId="Web-{7B9934FD-540C-45AA-ADCB-B6EC875688F6}" dt="2023-04-23T21:54:01.310" v="207" actId="14100"/>
          <ac:picMkLst>
            <pc:docMk/>
            <pc:sldMk cId="2416396199" sldId="256"/>
            <ac:picMk id="7" creationId="{8F04E762-E0FD-5531-0DFE-79829B40D732}"/>
          </ac:picMkLst>
        </pc:picChg>
      </pc:sldChg>
      <pc:sldChg chg="addSp delSp modSp ord">
        <pc:chgData name="cristian herreño" userId="05d99c3bd9b61c80" providerId="Windows Live" clId="Web-{7B9934FD-540C-45AA-ADCB-B6EC875688F6}" dt="2023-04-24T00:20:59.186" v="5297" actId="20577"/>
        <pc:sldMkLst>
          <pc:docMk/>
          <pc:sldMk cId="3628694684" sldId="262"/>
        </pc:sldMkLst>
        <pc:spChg chg="mod">
          <ac:chgData name="cristian herreño" userId="05d99c3bd9b61c80" providerId="Windows Live" clId="Web-{7B9934FD-540C-45AA-ADCB-B6EC875688F6}" dt="2023-04-24T00:17:51.104" v="5198" actId="1076"/>
          <ac:spMkLst>
            <pc:docMk/>
            <pc:sldMk cId="3628694684" sldId="262"/>
            <ac:spMk id="3" creationId="{6089AC97-4254-C528-5EB8-EB2140E1512A}"/>
          </ac:spMkLst>
        </pc:spChg>
        <pc:spChg chg="mod">
          <ac:chgData name="cristian herreño" userId="05d99c3bd9b61c80" providerId="Windows Live" clId="Web-{7B9934FD-540C-45AA-ADCB-B6EC875688F6}" dt="2023-04-24T00:16:40.493" v="5129" actId="1076"/>
          <ac:spMkLst>
            <pc:docMk/>
            <pc:sldMk cId="3628694684" sldId="262"/>
            <ac:spMk id="8" creationId="{A18FE16F-5F03-2332-92F2-8BD2D57B89C3}"/>
          </ac:spMkLst>
        </pc:spChg>
        <pc:spChg chg="mod">
          <ac:chgData name="cristian herreño" userId="05d99c3bd9b61c80" providerId="Windows Live" clId="Web-{7B9934FD-540C-45AA-ADCB-B6EC875688F6}" dt="2023-04-24T00:17:29.963" v="5194" actId="1076"/>
          <ac:spMkLst>
            <pc:docMk/>
            <pc:sldMk cId="3628694684" sldId="262"/>
            <ac:spMk id="11" creationId="{086B8EEA-9A4E-D27A-865A-3B1DE85B9CEB}"/>
          </ac:spMkLst>
        </pc:spChg>
        <pc:spChg chg="add mod">
          <ac:chgData name="cristian herreño" userId="05d99c3bd9b61c80" providerId="Windows Live" clId="Web-{7B9934FD-540C-45AA-ADCB-B6EC875688F6}" dt="2023-04-24T00:20:59.186" v="5297" actId="20577"/>
          <ac:spMkLst>
            <pc:docMk/>
            <pc:sldMk cId="3628694684" sldId="262"/>
            <ac:spMk id="95" creationId="{05A7844D-A3BC-96B6-1198-C009266D309C}"/>
          </ac:spMkLst>
        </pc:spChg>
        <pc:graphicFrameChg chg="mod modGraphic">
          <ac:chgData name="cristian herreño" userId="05d99c3bd9b61c80" providerId="Windows Live" clId="Web-{7B9934FD-540C-45AA-ADCB-B6EC875688F6}" dt="2023-04-24T00:17:14.400" v="5176" actId="1076"/>
          <ac:graphicFrameMkLst>
            <pc:docMk/>
            <pc:sldMk cId="3628694684" sldId="262"/>
            <ac:graphicFrameMk id="4" creationId="{49920B8A-39C0-E187-1218-25274B697550}"/>
          </ac:graphicFrameMkLst>
        </pc:graphicFrameChg>
        <pc:graphicFrameChg chg="add mod">
          <ac:chgData name="cristian herreño" userId="05d99c3bd9b61c80" providerId="Windows Live" clId="Web-{7B9934FD-540C-45AA-ADCB-B6EC875688F6}" dt="2023-04-24T00:17:45.916" v="5197" actId="14100"/>
          <ac:graphicFrameMkLst>
            <pc:docMk/>
            <pc:sldMk cId="3628694684" sldId="262"/>
            <ac:graphicFrameMk id="6" creationId="{20693321-46C8-7C70-42B5-4E53AD5B8E66}"/>
          </ac:graphicFrameMkLst>
        </pc:graphicFrameChg>
        <pc:graphicFrameChg chg="mod modGraphic">
          <ac:chgData name="cristian herreño" userId="05d99c3bd9b61c80" providerId="Windows Live" clId="Web-{7B9934FD-540C-45AA-ADCB-B6EC875688F6}" dt="2023-04-24T00:17:25.791" v="5193" actId="1076"/>
          <ac:graphicFrameMkLst>
            <pc:docMk/>
            <pc:sldMk cId="3628694684" sldId="262"/>
            <ac:graphicFrameMk id="10" creationId="{D8CC49D8-527B-0BAC-41F9-7E7A02DD3D88}"/>
          </ac:graphicFrameMkLst>
        </pc:graphicFrameChg>
        <pc:picChg chg="del">
          <ac:chgData name="cristian herreño" userId="05d99c3bd9b61c80" providerId="Windows Live" clId="Web-{7B9934FD-540C-45AA-ADCB-B6EC875688F6}" dt="2023-04-24T00:12:20.941" v="5019"/>
          <ac:picMkLst>
            <pc:docMk/>
            <pc:sldMk cId="3628694684" sldId="262"/>
            <ac:picMk id="5" creationId="{BBF741A3-64FB-91D3-7B31-0A1570E4AD59}"/>
          </ac:picMkLst>
        </pc:picChg>
      </pc:sldChg>
      <pc:sldChg chg="addSp delSp modSp ord">
        <pc:chgData name="cristian herreño" userId="05d99c3bd9b61c80" providerId="Windows Live" clId="Web-{7B9934FD-540C-45AA-ADCB-B6EC875688F6}" dt="2023-04-24T00:22:15.297" v="5331" actId="20577"/>
        <pc:sldMkLst>
          <pc:docMk/>
          <pc:sldMk cId="3680803950" sldId="2147471929"/>
        </pc:sldMkLst>
        <pc:spChg chg="mod">
          <ac:chgData name="cristian herreño" userId="05d99c3bd9b61c80" providerId="Windows Live" clId="Web-{7B9934FD-540C-45AA-ADCB-B6EC875688F6}" dt="2023-04-24T00:22:15.297" v="5331" actId="20577"/>
          <ac:spMkLst>
            <pc:docMk/>
            <pc:sldMk cId="3680803950" sldId="2147471929"/>
            <ac:spMk id="2" creationId="{A1364CB7-03B9-9609-4D48-3F1D238DEC3B}"/>
          </ac:spMkLst>
        </pc:spChg>
        <pc:spChg chg="del">
          <ac:chgData name="cristian herreño" userId="05d99c3bd9b61c80" providerId="Windows Live" clId="Web-{7B9934FD-540C-45AA-ADCB-B6EC875688F6}" dt="2023-04-23T21:56:00.406" v="310"/>
          <ac:spMkLst>
            <pc:docMk/>
            <pc:sldMk cId="3680803950" sldId="2147471929"/>
            <ac:spMk id="12" creationId="{6AFB3D2D-F2A2-63D2-BB2E-A9B89A65AB28}"/>
          </ac:spMkLst>
        </pc:spChg>
        <pc:spChg chg="del">
          <ac:chgData name="cristian herreño" userId="05d99c3bd9b61c80" providerId="Windows Live" clId="Web-{7B9934FD-540C-45AA-ADCB-B6EC875688F6}" dt="2023-04-23T21:56:03.453" v="312"/>
          <ac:spMkLst>
            <pc:docMk/>
            <pc:sldMk cId="3680803950" sldId="2147471929"/>
            <ac:spMk id="14" creationId="{AC659470-242E-4F70-BE33-988B7F20169B}"/>
          </ac:spMkLst>
        </pc:spChg>
        <pc:spChg chg="add mod">
          <ac:chgData name="cristian herreño" userId="05d99c3bd9b61c80" providerId="Windows Live" clId="Web-{7B9934FD-540C-45AA-ADCB-B6EC875688F6}" dt="2023-04-24T00:21:32.687" v="5324" actId="14100"/>
          <ac:spMkLst>
            <pc:docMk/>
            <pc:sldMk cId="3680803950" sldId="2147471929"/>
            <ac:spMk id="99" creationId="{F6CDE7A2-4349-5914-0895-1F9EDC6CF48E}"/>
          </ac:spMkLst>
        </pc:spChg>
        <pc:spChg chg="add mod">
          <ac:chgData name="cristian herreño" userId="05d99c3bd9b61c80" providerId="Windows Live" clId="Web-{7B9934FD-540C-45AA-ADCB-B6EC875688F6}" dt="2023-04-24T00:10:57.596" v="5013" actId="20577"/>
          <ac:spMkLst>
            <pc:docMk/>
            <pc:sldMk cId="3680803950" sldId="2147471929"/>
            <ac:spMk id="100" creationId="{67D6A061-65DB-5F0D-F95A-4578A88D43A0}"/>
          </ac:spMkLst>
        </pc:spChg>
        <pc:graphicFrameChg chg="mod modGraphic">
          <ac:chgData name="cristian herreño" userId="05d99c3bd9b61c80" providerId="Windows Live" clId="Web-{7B9934FD-540C-45AA-ADCB-B6EC875688F6}" dt="2023-04-23T23:08:08.777" v="2272" actId="1076"/>
          <ac:graphicFrameMkLst>
            <pc:docMk/>
            <pc:sldMk cId="3680803950" sldId="2147471929"/>
            <ac:graphicFrameMk id="4" creationId="{935EFDA8-052E-A918-3A84-B0B2E46B88FF}"/>
          </ac:graphicFrameMkLst>
        </pc:graphicFrameChg>
        <pc:graphicFrameChg chg="add mod modGraphic">
          <ac:chgData name="cristian herreño" userId="05d99c3bd9b61c80" providerId="Windows Live" clId="Web-{7B9934FD-540C-45AA-ADCB-B6EC875688F6}" dt="2023-04-24T00:21:28.140" v="5323"/>
          <ac:graphicFrameMkLst>
            <pc:docMk/>
            <pc:sldMk cId="3680803950" sldId="2147471929"/>
            <ac:graphicFrameMk id="115" creationId="{72081D10-C479-ED8E-78B9-2E08C538C54F}"/>
          </ac:graphicFrameMkLst>
        </pc:graphicFrameChg>
        <pc:picChg chg="del mod">
          <ac:chgData name="cristian herreño" userId="05d99c3bd9b61c80" providerId="Windows Live" clId="Web-{7B9934FD-540C-45AA-ADCB-B6EC875688F6}" dt="2023-04-23T21:56:00.406" v="311"/>
          <ac:picMkLst>
            <pc:docMk/>
            <pc:sldMk cId="3680803950" sldId="2147471929"/>
            <ac:picMk id="9" creationId="{E1694411-EBA6-8E2C-7311-28BB64E5ECB2}"/>
          </ac:picMkLst>
        </pc:picChg>
        <pc:picChg chg="add del mod">
          <ac:chgData name="cristian herreño" userId="05d99c3bd9b61c80" providerId="Windows Live" clId="Web-{7B9934FD-540C-45AA-ADCB-B6EC875688F6}" dt="2023-04-23T22:38:43.350" v="1016"/>
          <ac:picMkLst>
            <pc:docMk/>
            <pc:sldMk cId="3680803950" sldId="2147471929"/>
            <ac:picMk id="98" creationId="{A7A54B8D-ABB6-6027-BF92-9579F5F1E36E}"/>
          </ac:picMkLst>
        </pc:picChg>
      </pc:sldChg>
      <pc:sldChg chg="addSp modSp ord">
        <pc:chgData name="cristian herreño" userId="05d99c3bd9b61c80" providerId="Windows Live" clId="Web-{7B9934FD-540C-45AA-ADCB-B6EC875688F6}" dt="2023-04-24T00:13:54.193" v="5033" actId="1076"/>
        <pc:sldMkLst>
          <pc:docMk/>
          <pc:sldMk cId="4087382537" sldId="2147471930"/>
        </pc:sldMkLst>
        <pc:picChg chg="add mod">
          <ac:chgData name="cristian herreño" userId="05d99c3bd9b61c80" providerId="Windows Live" clId="Web-{7B9934FD-540C-45AA-ADCB-B6EC875688F6}" dt="2023-04-24T00:13:54.193" v="5033" actId="1076"/>
          <ac:picMkLst>
            <pc:docMk/>
            <pc:sldMk cId="4087382537" sldId="2147471930"/>
            <ac:picMk id="2" creationId="{E595DD1D-2DF9-5273-C317-1126AD456F09}"/>
          </ac:picMkLst>
        </pc:picChg>
        <pc:picChg chg="mod">
          <ac:chgData name="cristian herreño" userId="05d99c3bd9b61c80" providerId="Windows Live" clId="Web-{7B9934FD-540C-45AA-ADCB-B6EC875688F6}" dt="2023-04-24T00:13:52.771" v="5032" actId="14100"/>
          <ac:picMkLst>
            <pc:docMk/>
            <pc:sldMk cId="4087382537" sldId="2147471930"/>
            <ac:picMk id="14" creationId="{1760A151-CACC-CD74-2A2C-47D28BAC0B2D}"/>
          </ac:picMkLst>
        </pc:picChg>
      </pc:sldChg>
      <pc:sldChg chg="modSp ord">
        <pc:chgData name="cristian herreño" userId="05d99c3bd9b61c80" providerId="Windows Live" clId="Web-{7B9934FD-540C-45AA-ADCB-B6EC875688F6}" dt="2023-04-24T00:22:59.392" v="5333"/>
        <pc:sldMkLst>
          <pc:docMk/>
          <pc:sldMk cId="1553401313" sldId="2147471931"/>
        </pc:sldMkLst>
        <pc:spChg chg="mod">
          <ac:chgData name="cristian herreño" userId="05d99c3bd9b61c80" providerId="Windows Live" clId="Web-{7B9934FD-540C-45AA-ADCB-B6EC875688F6}" dt="2023-04-24T00:21:56.859" v="5326" actId="1076"/>
          <ac:spMkLst>
            <pc:docMk/>
            <pc:sldMk cId="1553401313" sldId="2147471931"/>
            <ac:spMk id="16" creationId="{32B93DC1-8AD1-F0CD-184C-F6AA2527EF4C}"/>
          </ac:spMkLst>
        </pc:spChg>
      </pc:sldChg>
      <pc:sldChg chg="addSp delSp modSp add ord replId">
        <pc:chgData name="cristian herreño" userId="05d99c3bd9b61c80" providerId="Windows Live" clId="Web-{7B9934FD-540C-45AA-ADCB-B6EC875688F6}" dt="2023-04-24T00:22:49.219" v="5332"/>
        <pc:sldMkLst>
          <pc:docMk/>
          <pc:sldMk cId="3882441226" sldId="2147471932"/>
        </pc:sldMkLst>
        <pc:spChg chg="mod">
          <ac:chgData name="cristian herreño" userId="05d99c3bd9b61c80" providerId="Windows Live" clId="Web-{7B9934FD-540C-45AA-ADCB-B6EC875688F6}" dt="2023-04-24T00:20:18.388" v="5251" actId="1076"/>
          <ac:spMkLst>
            <pc:docMk/>
            <pc:sldMk cId="3882441226" sldId="2147471932"/>
            <ac:spMk id="2" creationId="{A1364CB7-03B9-9609-4D48-3F1D238DEC3B}"/>
          </ac:spMkLst>
        </pc:spChg>
        <pc:spChg chg="del">
          <ac:chgData name="cristian herreño" userId="05d99c3bd9b61c80" providerId="Windows Live" clId="Web-{7B9934FD-540C-45AA-ADCB-B6EC875688F6}" dt="2023-04-23T23:11:46.172" v="2361"/>
          <ac:spMkLst>
            <pc:docMk/>
            <pc:sldMk cId="3882441226" sldId="2147471932"/>
            <ac:spMk id="12" creationId="{6AFB3D2D-F2A2-63D2-BB2E-A9B89A65AB28}"/>
          </ac:spMkLst>
        </pc:spChg>
        <pc:spChg chg="del mod">
          <ac:chgData name="cristian herreño" userId="05d99c3bd9b61c80" providerId="Windows Live" clId="Web-{7B9934FD-540C-45AA-ADCB-B6EC875688F6}" dt="2023-04-23T23:12:23.313" v="2373"/>
          <ac:spMkLst>
            <pc:docMk/>
            <pc:sldMk cId="3882441226" sldId="2147471932"/>
            <ac:spMk id="14" creationId="{AC659470-242E-4F70-BE33-988B7F20169B}"/>
          </ac:spMkLst>
        </pc:spChg>
        <pc:spChg chg="add del mod">
          <ac:chgData name="cristian herreño" userId="05d99c3bd9b61c80" providerId="Windows Live" clId="Web-{7B9934FD-540C-45AA-ADCB-B6EC875688F6}" dt="2023-04-23T23:59:03.814" v="4434"/>
          <ac:spMkLst>
            <pc:docMk/>
            <pc:sldMk cId="3882441226" sldId="2147471932"/>
            <ac:spMk id="39" creationId="{24F4A757-9A3C-3CB1-6072-977AF979AA8D}"/>
          </ac:spMkLst>
        </pc:spChg>
        <pc:spChg chg="add mod">
          <ac:chgData name="cristian herreño" userId="05d99c3bd9b61c80" providerId="Windows Live" clId="Web-{7B9934FD-540C-45AA-ADCB-B6EC875688F6}" dt="2023-04-23T23:59:38.659" v="4445" actId="14100"/>
          <ac:spMkLst>
            <pc:docMk/>
            <pc:sldMk cId="3882441226" sldId="2147471932"/>
            <ac:spMk id="40" creationId="{E4095FB4-28B9-4A86-17C6-B59A87329A34}"/>
          </ac:spMkLst>
        </pc:spChg>
        <pc:spChg chg="add del mod">
          <ac:chgData name="cristian herreño" userId="05d99c3bd9b61c80" providerId="Windows Live" clId="Web-{7B9934FD-540C-45AA-ADCB-B6EC875688F6}" dt="2023-04-23T23:20:52.058" v="3099"/>
          <ac:spMkLst>
            <pc:docMk/>
            <pc:sldMk cId="3882441226" sldId="2147471932"/>
            <ac:spMk id="42" creationId="{400ECEB8-8B8D-1DBB-6D84-4BC85A58A430}"/>
          </ac:spMkLst>
        </pc:spChg>
        <pc:spChg chg="add del mod">
          <ac:chgData name="cristian herreño" userId="05d99c3bd9b61c80" providerId="Windows Live" clId="Web-{7B9934FD-540C-45AA-ADCB-B6EC875688F6}" dt="2023-04-23T23:56:01.092" v="4358"/>
          <ac:spMkLst>
            <pc:docMk/>
            <pc:sldMk cId="3882441226" sldId="2147471932"/>
            <ac:spMk id="50" creationId="{79334957-731A-0ECF-8A6D-2E6126EDA00D}"/>
          </ac:spMkLst>
        </pc:spChg>
        <pc:spChg chg="add mod">
          <ac:chgData name="cristian herreño" userId="05d99c3bd9b61c80" providerId="Windows Live" clId="Web-{7B9934FD-540C-45AA-ADCB-B6EC875688F6}" dt="2023-04-24T00:04:30.649" v="4470" actId="1076"/>
          <ac:spMkLst>
            <pc:docMk/>
            <pc:sldMk cId="3882441226" sldId="2147471932"/>
            <ac:spMk id="51" creationId="{A68DFC12-F473-FED6-479D-675979E7F0C9}"/>
          </ac:spMkLst>
        </pc:spChg>
        <pc:spChg chg="add mod">
          <ac:chgData name="cristian herreño" userId="05d99c3bd9b61c80" providerId="Windows Live" clId="Web-{7B9934FD-540C-45AA-ADCB-B6EC875688F6}" dt="2023-04-24T00:19:19.340" v="5221" actId="1076"/>
          <ac:spMkLst>
            <pc:docMk/>
            <pc:sldMk cId="3882441226" sldId="2147471932"/>
            <ac:spMk id="54" creationId="{07F50ABA-5081-F952-A92B-47610AC1AEF8}"/>
          </ac:spMkLst>
        </pc:spChg>
        <pc:spChg chg="add mod">
          <ac:chgData name="cristian herreño" userId="05d99c3bd9b61c80" providerId="Windows Live" clId="Web-{7B9934FD-540C-45AA-ADCB-B6EC875688F6}" dt="2023-04-23T23:59:57.706" v="4449" actId="1076"/>
          <ac:spMkLst>
            <pc:docMk/>
            <pc:sldMk cId="3882441226" sldId="2147471932"/>
            <ac:spMk id="69" creationId="{02A7BC19-1227-92BB-14DE-5FB0B26ADDED}"/>
          </ac:spMkLst>
        </pc:spChg>
        <pc:spChg chg="add mod">
          <ac:chgData name="cristian herreño" userId="05d99c3bd9b61c80" providerId="Windows Live" clId="Web-{7B9934FD-540C-45AA-ADCB-B6EC875688F6}" dt="2023-04-23T23:49:22.959" v="4252" actId="14100"/>
          <ac:spMkLst>
            <pc:docMk/>
            <pc:sldMk cId="3882441226" sldId="2147471932"/>
            <ac:spMk id="72" creationId="{CE471F4E-64D8-C19E-EF44-240579ED9521}"/>
          </ac:spMkLst>
        </pc:spChg>
        <pc:spChg chg="add del mod">
          <ac:chgData name="cristian herreño" userId="05d99c3bd9b61c80" providerId="Windows Live" clId="Web-{7B9934FD-540C-45AA-ADCB-B6EC875688F6}" dt="2023-04-23T23:49:00.536" v="4242"/>
          <ac:spMkLst>
            <pc:docMk/>
            <pc:sldMk cId="3882441226" sldId="2147471932"/>
            <ac:spMk id="73" creationId="{211E3F8A-0D6A-0411-5051-1186FED77B9E}"/>
          </ac:spMkLst>
        </pc:spChg>
        <pc:spChg chg="add del">
          <ac:chgData name="cristian herreño" userId="05d99c3bd9b61c80" providerId="Windows Live" clId="Web-{7B9934FD-540C-45AA-ADCB-B6EC875688F6}" dt="2023-04-23T23:53:19.479" v="4331"/>
          <ac:spMkLst>
            <pc:docMk/>
            <pc:sldMk cId="3882441226" sldId="2147471932"/>
            <ac:spMk id="237" creationId="{C2CC155C-F590-C47A-D5BF-B11FE939390D}"/>
          </ac:spMkLst>
        </pc:spChg>
        <pc:spChg chg="add mod">
          <ac:chgData name="cristian herreño" userId="05d99c3bd9b61c80" providerId="Windows Live" clId="Web-{7B9934FD-540C-45AA-ADCB-B6EC875688F6}" dt="2023-04-24T00:03:18.273" v="4459" actId="1076"/>
          <ac:spMkLst>
            <pc:docMk/>
            <pc:sldMk cId="3882441226" sldId="2147471932"/>
            <ac:spMk id="238" creationId="{361FAB55-514D-5426-2B53-457950FEC293}"/>
          </ac:spMkLst>
        </pc:spChg>
        <pc:spChg chg="add mod">
          <ac:chgData name="cristian herreño" userId="05d99c3bd9b61c80" providerId="Windows Live" clId="Web-{7B9934FD-540C-45AA-ADCB-B6EC875688F6}" dt="2023-04-24T00:18:06.479" v="5202" actId="20577"/>
          <ac:spMkLst>
            <pc:docMk/>
            <pc:sldMk cId="3882441226" sldId="2147471932"/>
            <ac:spMk id="239" creationId="{CF803CD6-7531-D827-CC46-52D4A66F17F7}"/>
          </ac:spMkLst>
        </pc:spChg>
        <pc:spChg chg="add mod">
          <ac:chgData name="cristian herreño" userId="05d99c3bd9b61c80" providerId="Windows Live" clId="Web-{7B9934FD-540C-45AA-ADCB-B6EC875688F6}" dt="2023-04-24T00:03:27.726" v="4461" actId="1076"/>
          <ac:spMkLst>
            <pc:docMk/>
            <pc:sldMk cId="3882441226" sldId="2147471932"/>
            <ac:spMk id="240" creationId="{9B5874CA-3336-74EA-B5F3-69703CB9298A}"/>
          </ac:spMkLst>
        </pc:spChg>
        <pc:spChg chg="add mod">
          <ac:chgData name="cristian herreño" userId="05d99c3bd9b61c80" providerId="Windows Live" clId="Web-{7B9934FD-540C-45AA-ADCB-B6EC875688F6}" dt="2023-04-24T00:04:16.649" v="4469" actId="1076"/>
          <ac:spMkLst>
            <pc:docMk/>
            <pc:sldMk cId="3882441226" sldId="2147471932"/>
            <ac:spMk id="241" creationId="{9D3B0B71-7335-D703-8BEB-3B3011A13CAC}"/>
          </ac:spMkLst>
        </pc:spChg>
        <pc:spChg chg="add mod">
          <ac:chgData name="cristian herreño" userId="05d99c3bd9b61c80" providerId="Windows Live" clId="Web-{7B9934FD-540C-45AA-ADCB-B6EC875688F6}" dt="2023-04-24T00:05:22.275" v="4474" actId="1076"/>
          <ac:spMkLst>
            <pc:docMk/>
            <pc:sldMk cId="3882441226" sldId="2147471932"/>
            <ac:spMk id="242" creationId="{DFC32347-FE47-19D3-D6BE-31688A09A340}"/>
          </ac:spMkLst>
        </pc:spChg>
        <pc:spChg chg="add mod">
          <ac:chgData name="cristian herreño" userId="05d99c3bd9b61c80" providerId="Windows Live" clId="Web-{7B9934FD-540C-45AA-ADCB-B6EC875688F6}" dt="2023-04-24T00:19:44.013" v="5227" actId="14100"/>
          <ac:spMkLst>
            <pc:docMk/>
            <pc:sldMk cId="3882441226" sldId="2147471932"/>
            <ac:spMk id="243" creationId="{BD674C18-8336-2B26-AE5D-4BEBCE2BAF43}"/>
          </ac:spMkLst>
        </pc:spChg>
        <pc:spChg chg="add mod">
          <ac:chgData name="cristian herreño" userId="05d99c3bd9b61c80" providerId="Windows Live" clId="Web-{7B9934FD-540C-45AA-ADCB-B6EC875688F6}" dt="2023-04-24T00:09:43.077" v="4996" actId="20577"/>
          <ac:spMkLst>
            <pc:docMk/>
            <pc:sldMk cId="3882441226" sldId="2147471932"/>
            <ac:spMk id="244" creationId="{4E6A643E-FF81-BA2B-B899-DE05952DEA06}"/>
          </ac:spMkLst>
        </pc:spChg>
        <pc:graphicFrameChg chg="del">
          <ac:chgData name="cristian herreño" userId="05d99c3bd9b61c80" providerId="Windows Live" clId="Web-{7B9934FD-540C-45AA-ADCB-B6EC875688F6}" dt="2023-04-23T23:11:32.531" v="2358"/>
          <ac:graphicFrameMkLst>
            <pc:docMk/>
            <pc:sldMk cId="3882441226" sldId="2147471932"/>
            <ac:graphicFrameMk id="4" creationId="{935EFDA8-052E-A918-3A84-B0B2E46B88FF}"/>
          </ac:graphicFrameMkLst>
        </pc:graphicFrameChg>
        <pc:graphicFrameChg chg="add del mod">
          <ac:chgData name="cristian herreño" userId="05d99c3bd9b61c80" providerId="Windows Live" clId="Web-{7B9934FD-540C-45AA-ADCB-B6EC875688F6}" dt="2023-04-23T23:40:16.791" v="3966"/>
          <ac:graphicFrameMkLst>
            <pc:docMk/>
            <pc:sldMk cId="3882441226" sldId="2147471932"/>
            <ac:graphicFrameMk id="23" creationId="{E042A69D-0504-E718-6309-482C9C364260}"/>
          </ac:graphicFrameMkLst>
        </pc:graphicFrameChg>
        <pc:graphicFrameChg chg="add mod modGraphic">
          <ac:chgData name="cristian herreño" userId="05d99c3bd9b61c80" providerId="Windows Live" clId="Web-{7B9934FD-540C-45AA-ADCB-B6EC875688F6}" dt="2023-04-24T00:19:22.106" v="5222" actId="1076"/>
          <ac:graphicFrameMkLst>
            <pc:docMk/>
            <pc:sldMk cId="3882441226" sldId="2147471932"/>
            <ac:graphicFrameMk id="70" creationId="{FC889C7D-262A-CF5A-6CB4-34D3F038E663}"/>
          </ac:graphicFrameMkLst>
        </pc:graphicFrameChg>
        <pc:graphicFrameChg chg="add del mod modGraphic">
          <ac:chgData name="cristian herreño" userId="05d99c3bd9b61c80" providerId="Windows Live" clId="Web-{7B9934FD-540C-45AA-ADCB-B6EC875688F6}" dt="2023-04-23T23:52:52.244" v="4327"/>
          <ac:graphicFrameMkLst>
            <pc:docMk/>
            <pc:sldMk cId="3882441226" sldId="2147471932"/>
            <ac:graphicFrameMk id="74" creationId="{473DB39F-E130-4B38-FAE4-5DD0C8768F80}"/>
          </ac:graphicFrameMkLst>
        </pc:graphicFrameChg>
        <pc:picChg chg="mod">
          <ac:chgData name="cristian herreño" userId="05d99c3bd9b61c80" providerId="Windows Live" clId="Web-{7B9934FD-540C-45AA-ADCB-B6EC875688F6}" dt="2023-04-24T00:09:47.140" v="4997" actId="1076"/>
          <ac:picMkLst>
            <pc:docMk/>
            <pc:sldMk cId="3882441226" sldId="2147471932"/>
            <ac:picMk id="9" creationId="{E1694411-EBA6-8E2C-7311-28BB64E5ECB2}"/>
          </ac:picMkLst>
        </pc:picChg>
        <pc:picChg chg="add del mod">
          <ac:chgData name="cristian herreño" userId="05d99c3bd9b61c80" providerId="Windows Live" clId="Web-{7B9934FD-540C-45AA-ADCB-B6EC875688F6}" dt="2023-04-23T23:25:37.126" v="3142"/>
          <ac:picMkLst>
            <pc:docMk/>
            <pc:sldMk cId="3882441226" sldId="2147471932"/>
            <ac:picMk id="21" creationId="{24E1FDB9-ED58-6073-54A4-22A597080649}"/>
          </ac:picMkLst>
        </pc:picChg>
        <pc:picChg chg="add del mod">
          <ac:chgData name="cristian herreño" userId="05d99c3bd9b61c80" providerId="Windows Live" clId="Web-{7B9934FD-540C-45AA-ADCB-B6EC875688F6}" dt="2023-04-23T23:25:57.689" v="3146"/>
          <ac:picMkLst>
            <pc:docMk/>
            <pc:sldMk cId="3882441226" sldId="2147471932"/>
            <ac:picMk id="52" creationId="{CF29DE7E-E05E-B354-902A-B8033935E7E4}"/>
          </ac:picMkLst>
        </pc:picChg>
        <pc:picChg chg="add mod">
          <ac:chgData name="cristian herreño" userId="05d99c3bd9b61c80" providerId="Windows Live" clId="Web-{7B9934FD-540C-45AA-ADCB-B6EC875688F6}" dt="2023-04-24T00:00:06.706" v="4452" actId="1076"/>
          <ac:picMkLst>
            <pc:docMk/>
            <pc:sldMk cId="3882441226" sldId="2147471932"/>
            <ac:picMk id="53" creationId="{AF1F9B25-4DE8-BF02-A594-9632D4DD9F85}"/>
          </ac:picMkLst>
        </pc:picChg>
        <pc:picChg chg="add mod">
          <ac:chgData name="cristian herreño" userId="05d99c3bd9b61c80" providerId="Windows Live" clId="Web-{7B9934FD-540C-45AA-ADCB-B6EC875688F6}" dt="2023-04-23T23:48:12.754" v="4213" actId="1076"/>
          <ac:picMkLst>
            <pc:docMk/>
            <pc:sldMk cId="3882441226" sldId="2147471932"/>
            <ac:picMk id="71" creationId="{33B73961-7166-F54C-A05B-BDD70529403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22543A-54C7-4E7D-81FC-2B8B05866254}"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s-CO"/>
        </a:p>
      </dgm:t>
    </dgm:pt>
    <dgm:pt modelId="{D7A87B4D-12CB-4135-8E87-077237F188AA}">
      <dgm:prSet phldrT="[Texto]" custT="1"/>
      <dgm:spPr/>
      <dgm:t>
        <a:bodyPr/>
        <a:lstStyle/>
        <a:p>
          <a:r>
            <a:rPr lang="en-US" sz="1100" b="1" dirty="0">
              <a:solidFill>
                <a:schemeClr val="tx1"/>
              </a:solidFill>
            </a:rPr>
            <a:t>Carry out an exercise of historical expenditure by region, depending on risk, prevalence of emergencies, etc.</a:t>
          </a:r>
          <a:endParaRPr lang="es-CO" sz="1100" b="1" dirty="0">
            <a:solidFill>
              <a:schemeClr val="tx1"/>
            </a:solidFill>
          </a:endParaRPr>
        </a:p>
      </dgm:t>
    </dgm:pt>
    <dgm:pt modelId="{68DA9897-2034-403F-AB0B-AC5C5DCB747B}" type="parTrans" cxnId="{8C770337-4C39-4F4D-B679-4AFB6BE4308E}">
      <dgm:prSet/>
      <dgm:spPr/>
      <dgm:t>
        <a:bodyPr/>
        <a:lstStyle/>
        <a:p>
          <a:endParaRPr lang="es-CO" sz="1100">
            <a:solidFill>
              <a:schemeClr val="tx1"/>
            </a:solidFill>
          </a:endParaRPr>
        </a:p>
      </dgm:t>
    </dgm:pt>
    <dgm:pt modelId="{093E4F38-A87D-48F5-BEA2-2F3EA803E2E6}" type="sibTrans" cxnId="{8C770337-4C39-4F4D-B679-4AFB6BE4308E}">
      <dgm:prSet/>
      <dgm:spPr/>
      <dgm:t>
        <a:bodyPr/>
        <a:lstStyle/>
        <a:p>
          <a:endParaRPr lang="es-CO" sz="1100">
            <a:solidFill>
              <a:schemeClr val="tx1"/>
            </a:solidFill>
          </a:endParaRPr>
        </a:p>
      </dgm:t>
    </dgm:pt>
    <dgm:pt modelId="{416A381A-5393-4B1E-87DF-21E583532FB0}">
      <dgm:prSet phldrT="[Texto]" custT="1"/>
      <dgm:spPr/>
      <dgm:t>
        <a:bodyPr/>
        <a:lstStyle/>
        <a:p>
          <a:r>
            <a:rPr lang="en-US" sz="1100" b="1" dirty="0">
              <a:solidFill>
                <a:schemeClr val="tx1"/>
              </a:solidFill>
            </a:rPr>
            <a:t>Budgeting for a bag in the VDS to deal with emergencies (with this specific use)</a:t>
          </a:r>
          <a:endParaRPr lang="es-CO" sz="1100" b="1" dirty="0">
            <a:solidFill>
              <a:schemeClr val="tx1"/>
            </a:solidFill>
          </a:endParaRPr>
        </a:p>
      </dgm:t>
    </dgm:pt>
    <dgm:pt modelId="{FF8841A2-F413-43D9-A895-C294D7BBFC6E}" type="parTrans" cxnId="{3E2A1427-4C10-436E-B849-149D357606AD}">
      <dgm:prSet/>
      <dgm:spPr/>
      <dgm:t>
        <a:bodyPr/>
        <a:lstStyle/>
        <a:p>
          <a:endParaRPr lang="es-CO" sz="1100">
            <a:solidFill>
              <a:schemeClr val="tx1"/>
            </a:solidFill>
          </a:endParaRPr>
        </a:p>
      </dgm:t>
    </dgm:pt>
    <dgm:pt modelId="{E6078D7E-BC91-4C55-B238-814375663DA0}" type="sibTrans" cxnId="{3E2A1427-4C10-436E-B849-149D357606AD}">
      <dgm:prSet/>
      <dgm:spPr/>
      <dgm:t>
        <a:bodyPr/>
        <a:lstStyle/>
        <a:p>
          <a:endParaRPr lang="es-CO" sz="1100">
            <a:solidFill>
              <a:schemeClr val="tx1"/>
            </a:solidFill>
          </a:endParaRPr>
        </a:p>
      </dgm:t>
    </dgm:pt>
    <dgm:pt modelId="{8D5D71AF-73AF-49CE-A03F-C025BE9022B4}">
      <dgm:prSet phldrT="[Texto]" custT="1"/>
      <dgm:spPr>
        <a:solidFill>
          <a:srgbClr val="92D050"/>
        </a:solidFill>
        <a:ln w="12700" cap="flat" cmpd="sng" algn="ctr">
          <a:solidFill>
            <a:prstClr val="white">
              <a:hueOff val="0"/>
              <a:satOff val="0"/>
              <a:lumOff val="0"/>
              <a:alphaOff val="0"/>
            </a:prstClr>
          </a:solidFill>
          <a:prstDash val="solid"/>
          <a:miter lim="800000"/>
        </a:ln>
        <a:effectLst/>
      </dgm:spPr>
      <dgm:t>
        <a:bodyPr spcFirstLastPara="0" vert="horz" wrap="square" lIns="44006" tIns="14669" rIns="14669" bIns="14669" numCol="1" spcCol="1270" anchor="ctr" anchorCtr="0"/>
        <a:lstStyle/>
        <a:p>
          <a:r>
            <a:rPr lang="en-US" sz="1100" b="1" kern="1200" dirty="0">
              <a:solidFill>
                <a:schemeClr val="tx1"/>
              </a:solidFill>
            </a:rPr>
            <a:t>In order to use the resources, an emergency must have arisen, supported by the declaration and the action plan.  There must be an explicit request for </a:t>
          </a:r>
          <a:r>
            <a:rPr lang="en-US" sz="1100" b="1" kern="1200" dirty="0" err="1">
              <a:solidFill>
                <a:schemeClr val="tx1"/>
              </a:solidFill>
            </a:rPr>
            <a:t>Ecopetrol</a:t>
          </a:r>
          <a:r>
            <a:rPr lang="en-US" sz="1100" b="1" kern="1200" dirty="0">
              <a:solidFill>
                <a:schemeClr val="tx1"/>
              </a:solidFill>
            </a:rPr>
            <a:t> to be served by the vehicles destined for this purpose previously.</a:t>
          </a:r>
          <a:endParaRPr lang="es-CO" sz="1100" b="1" kern="1200" dirty="0">
            <a:solidFill>
              <a:schemeClr val="tx1"/>
            </a:solidFill>
          </a:endParaRPr>
        </a:p>
      </dgm:t>
    </dgm:pt>
    <dgm:pt modelId="{43E31349-5716-4BA6-9779-9B187B0FACDB}" type="parTrans" cxnId="{1BF5982D-3682-4359-A568-53967A5E62CB}">
      <dgm:prSet/>
      <dgm:spPr/>
      <dgm:t>
        <a:bodyPr/>
        <a:lstStyle/>
        <a:p>
          <a:endParaRPr lang="es-CO" sz="1100">
            <a:solidFill>
              <a:schemeClr val="tx1"/>
            </a:solidFill>
          </a:endParaRPr>
        </a:p>
      </dgm:t>
    </dgm:pt>
    <dgm:pt modelId="{9D83FA9B-F288-4A97-93C9-0F4781511EBF}" type="sibTrans" cxnId="{1BF5982D-3682-4359-A568-53967A5E62CB}">
      <dgm:prSet/>
      <dgm:spPr/>
      <dgm:t>
        <a:bodyPr/>
        <a:lstStyle/>
        <a:p>
          <a:endParaRPr lang="es-CO" sz="1100">
            <a:solidFill>
              <a:schemeClr val="tx1"/>
            </a:solidFill>
          </a:endParaRPr>
        </a:p>
      </dgm:t>
    </dgm:pt>
    <dgm:pt modelId="{6D88B3C2-6278-4C55-BEA5-83DD21B24055}">
      <dgm:prSet phldrT="[Texto]" custT="1"/>
      <dgm:spPr/>
      <dgm:t>
        <a:bodyPr/>
        <a:lstStyle/>
        <a:p>
          <a:r>
            <a:rPr lang="en-US" sz="1400" dirty="0">
              <a:solidFill>
                <a:schemeClr val="tx1"/>
              </a:solidFill>
            </a:rPr>
            <a:t>Identification of available vehicles by regional
Structuring vehicles for emergency response in the missing regions</a:t>
          </a:r>
          <a:endParaRPr lang="es-CO" sz="1400" dirty="0">
            <a:solidFill>
              <a:schemeClr val="tx1"/>
            </a:solidFill>
          </a:endParaRPr>
        </a:p>
      </dgm:t>
    </dgm:pt>
    <dgm:pt modelId="{1A3D07B1-F9E8-405D-9B06-B90A6F9C8A11}" type="parTrans" cxnId="{4B0BF621-1104-4417-AB95-E3E80DFB5AE3}">
      <dgm:prSet/>
      <dgm:spPr/>
      <dgm:t>
        <a:bodyPr/>
        <a:lstStyle/>
        <a:p>
          <a:endParaRPr lang="es-CO" sz="1100">
            <a:solidFill>
              <a:schemeClr val="tx1"/>
            </a:solidFill>
          </a:endParaRPr>
        </a:p>
      </dgm:t>
    </dgm:pt>
    <dgm:pt modelId="{B0F75A5D-E7EF-4E69-AF65-9CA45C4CD108}" type="sibTrans" cxnId="{4B0BF621-1104-4417-AB95-E3E80DFB5AE3}">
      <dgm:prSet/>
      <dgm:spPr/>
      <dgm:t>
        <a:bodyPr/>
        <a:lstStyle/>
        <a:p>
          <a:endParaRPr lang="es-CO" sz="1100">
            <a:solidFill>
              <a:schemeClr val="tx1"/>
            </a:solidFill>
          </a:endParaRPr>
        </a:p>
      </dgm:t>
    </dgm:pt>
    <dgm:pt modelId="{3FFDD391-D0A2-4D11-852B-FF6DE2D0B687}">
      <dgm:prSet phldrT="[Texto]" custT="1"/>
      <dgm:spPr>
        <a:solidFill>
          <a:srgbClr val="92D050"/>
        </a:solidFill>
        <a:ln w="12700" cap="flat" cmpd="sng" algn="ctr">
          <a:solidFill>
            <a:prstClr val="white">
              <a:hueOff val="0"/>
              <a:satOff val="0"/>
              <a:lumOff val="0"/>
              <a:alphaOff val="0"/>
            </a:prstClr>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s-CO" sz="1100" b="1" kern="1200" dirty="0">
              <a:solidFill>
                <a:schemeClr val="tx1"/>
              </a:solidFill>
              <a:latin typeface="Arial"/>
              <a:ea typeface="+mn-ea"/>
              <a:cs typeface="+mn-cs"/>
            </a:rPr>
            <a:t>Response &amp; </a:t>
          </a:r>
          <a:r>
            <a:rPr lang="es-CO" sz="1100" b="1" kern="1200" dirty="0" err="1">
              <a:solidFill>
                <a:schemeClr val="tx1"/>
              </a:solidFill>
              <a:latin typeface="Arial"/>
              <a:ea typeface="+mn-ea"/>
              <a:cs typeface="+mn-cs"/>
            </a:rPr>
            <a:t>Closing</a:t>
          </a:r>
          <a:endParaRPr lang="es-CO" sz="1100" b="1" kern="1200" dirty="0">
            <a:solidFill>
              <a:schemeClr val="tx1"/>
            </a:solidFill>
            <a:latin typeface="Arial"/>
            <a:ea typeface="+mn-ea"/>
            <a:cs typeface="+mn-cs"/>
          </a:endParaRPr>
        </a:p>
      </dgm:t>
    </dgm:pt>
    <dgm:pt modelId="{C68AB7A2-7345-40CC-B16C-DE4B709F6D81}" type="parTrans" cxnId="{FCFD5757-63E0-4B9A-9157-1E8947C96CE4}">
      <dgm:prSet/>
      <dgm:spPr/>
      <dgm:t>
        <a:bodyPr/>
        <a:lstStyle/>
        <a:p>
          <a:endParaRPr lang="es-CO" sz="1100">
            <a:solidFill>
              <a:schemeClr val="tx1"/>
            </a:solidFill>
          </a:endParaRPr>
        </a:p>
      </dgm:t>
    </dgm:pt>
    <dgm:pt modelId="{C9D391AD-50AB-4B1E-AE6D-D59E7CF0AB96}" type="sibTrans" cxnId="{FCFD5757-63E0-4B9A-9157-1E8947C96CE4}">
      <dgm:prSet/>
      <dgm:spPr/>
      <dgm:t>
        <a:bodyPr/>
        <a:lstStyle/>
        <a:p>
          <a:endParaRPr lang="es-CO" sz="1100">
            <a:solidFill>
              <a:schemeClr val="tx1"/>
            </a:solidFill>
          </a:endParaRPr>
        </a:p>
      </dgm:t>
    </dgm:pt>
    <dgm:pt modelId="{6895986A-BFDD-4A2A-9E4A-57240582761E}">
      <dgm:prSet phldrT="[Texto]" custT="1"/>
      <dgm:spPr/>
      <dgm:t>
        <a:bodyPr/>
        <a:lstStyle/>
        <a:p>
          <a:r>
            <a:rPr lang="es-CO" sz="1400" dirty="0" err="1">
              <a:solidFill>
                <a:schemeClr val="tx1"/>
              </a:solidFill>
            </a:rPr>
            <a:t>Document</a:t>
          </a:r>
          <a:r>
            <a:rPr lang="es-CO" sz="1400" dirty="0">
              <a:solidFill>
                <a:schemeClr val="tx1"/>
              </a:solidFill>
            </a:rPr>
            <a:t> </a:t>
          </a:r>
          <a:r>
            <a:rPr lang="es-CO" sz="1400" dirty="0" err="1">
              <a:solidFill>
                <a:schemeClr val="tx1"/>
              </a:solidFill>
            </a:rPr>
            <a:t>on</a:t>
          </a:r>
          <a:r>
            <a:rPr lang="es-CO" sz="1400" dirty="0">
              <a:solidFill>
                <a:schemeClr val="tx1"/>
              </a:solidFill>
            </a:rPr>
            <a:t> Salesforce </a:t>
          </a:r>
          <a:r>
            <a:rPr lang="es-CO" sz="1400" dirty="0" err="1">
              <a:solidFill>
                <a:schemeClr val="tx1"/>
              </a:solidFill>
            </a:rPr>
            <a:t>the</a:t>
          </a:r>
          <a:r>
            <a:rPr lang="es-CO" sz="1400" dirty="0">
              <a:solidFill>
                <a:schemeClr val="tx1"/>
              </a:solidFill>
            </a:rPr>
            <a:t> Project </a:t>
          </a:r>
          <a:r>
            <a:rPr lang="es-CO" sz="1400" dirty="0" err="1">
              <a:solidFill>
                <a:schemeClr val="tx1"/>
              </a:solidFill>
            </a:rPr>
            <a:t>to</a:t>
          </a:r>
          <a:r>
            <a:rPr lang="es-CO" sz="1400" dirty="0">
              <a:solidFill>
                <a:schemeClr val="tx1"/>
              </a:solidFill>
            </a:rPr>
            <a:t> </a:t>
          </a:r>
          <a:r>
            <a:rPr lang="es-CO" sz="1400" dirty="0" err="1">
              <a:solidFill>
                <a:schemeClr val="tx1"/>
              </a:solidFill>
            </a:rPr>
            <a:t>attend</a:t>
          </a:r>
          <a:r>
            <a:rPr lang="es-CO" sz="1400" dirty="0">
              <a:solidFill>
                <a:schemeClr val="tx1"/>
              </a:solidFill>
            </a:rPr>
            <a:t> </a:t>
          </a:r>
          <a:r>
            <a:rPr lang="es-CO" sz="1400" dirty="0" err="1">
              <a:solidFill>
                <a:schemeClr val="tx1"/>
              </a:solidFill>
            </a:rPr>
            <a:t>the</a:t>
          </a:r>
          <a:r>
            <a:rPr lang="es-CO" sz="1400" dirty="0">
              <a:solidFill>
                <a:schemeClr val="tx1"/>
              </a:solidFill>
            </a:rPr>
            <a:t> </a:t>
          </a:r>
          <a:r>
            <a:rPr lang="es-CO" sz="1400" dirty="0" err="1">
              <a:solidFill>
                <a:schemeClr val="tx1"/>
              </a:solidFill>
            </a:rPr>
            <a:t>emergency</a:t>
          </a:r>
          <a:r>
            <a:rPr lang="es-CO" sz="1400" dirty="0">
              <a:solidFill>
                <a:schemeClr val="tx1"/>
              </a:solidFill>
            </a:rPr>
            <a:t>.</a:t>
          </a:r>
        </a:p>
      </dgm:t>
    </dgm:pt>
    <dgm:pt modelId="{691EB880-7E27-4724-A903-840B54BC3673}" type="parTrans" cxnId="{B1388FC1-E1F9-4783-836E-2CFE2E6E9A2B}">
      <dgm:prSet/>
      <dgm:spPr/>
      <dgm:t>
        <a:bodyPr/>
        <a:lstStyle/>
        <a:p>
          <a:endParaRPr lang="es-CO" sz="1100">
            <a:solidFill>
              <a:schemeClr val="tx1"/>
            </a:solidFill>
          </a:endParaRPr>
        </a:p>
      </dgm:t>
    </dgm:pt>
    <dgm:pt modelId="{0DE4BFB2-57C1-48DC-916B-4D6EF420D82D}" type="sibTrans" cxnId="{B1388FC1-E1F9-4783-836E-2CFE2E6E9A2B}">
      <dgm:prSet/>
      <dgm:spPr/>
      <dgm:t>
        <a:bodyPr/>
        <a:lstStyle/>
        <a:p>
          <a:endParaRPr lang="es-CO" sz="1100">
            <a:solidFill>
              <a:schemeClr val="tx1"/>
            </a:solidFill>
          </a:endParaRPr>
        </a:p>
      </dgm:t>
    </dgm:pt>
    <dgm:pt modelId="{5C7BC6CF-83C7-4F24-A051-12C44FA16C64}">
      <dgm:prSet custT="1"/>
      <dgm:spPr/>
      <dgm:t>
        <a:bodyPr/>
        <a:lstStyle/>
        <a:p>
          <a:pPr>
            <a:buFont typeface="Arial" panose="020B0604020202020204" pitchFamily="34" charset="0"/>
            <a:buChar char="•"/>
          </a:pPr>
          <a:r>
            <a:rPr lang="en-US" sz="1400" dirty="0"/>
            <a:t>Estimation of the model taking into account risk and changes in temperature and precipitation.</a:t>
          </a:r>
          <a:endParaRPr lang="es-CO" sz="1400" dirty="0"/>
        </a:p>
      </dgm:t>
    </dgm:pt>
    <dgm:pt modelId="{4082224A-9B78-41B4-B811-899022BFABA5}" type="parTrans" cxnId="{A7F982B0-24E2-4C58-B8FB-900B01F939B3}">
      <dgm:prSet/>
      <dgm:spPr/>
      <dgm:t>
        <a:bodyPr/>
        <a:lstStyle/>
        <a:p>
          <a:endParaRPr lang="es-CO"/>
        </a:p>
      </dgm:t>
    </dgm:pt>
    <dgm:pt modelId="{4BC3247E-82BE-4C5E-82E8-0BB4E0B921C5}" type="sibTrans" cxnId="{A7F982B0-24E2-4C58-B8FB-900B01F939B3}">
      <dgm:prSet/>
      <dgm:spPr/>
      <dgm:t>
        <a:bodyPr/>
        <a:lstStyle/>
        <a:p>
          <a:endParaRPr lang="es-CO"/>
        </a:p>
      </dgm:t>
    </dgm:pt>
    <dgm:pt modelId="{326B8BA8-5FDD-4C39-9417-56FC22130CA0}">
      <dgm:prSet custT="1"/>
      <dgm:spPr/>
      <dgm:t>
        <a:bodyPr/>
        <a:lstStyle/>
        <a:p>
          <a:pPr>
            <a:buFont typeface="Arial" panose="020B0604020202020204" pitchFamily="34" charset="0"/>
            <a:buChar char="•"/>
          </a:pPr>
          <a:endParaRPr lang="es-CO" sz="1400" dirty="0"/>
        </a:p>
      </dgm:t>
    </dgm:pt>
    <dgm:pt modelId="{F1CC0464-2723-49EA-B966-84BEF6F24899}" type="parTrans" cxnId="{EF601D64-BF87-4378-82BC-63A8DFAA73E8}">
      <dgm:prSet/>
      <dgm:spPr/>
      <dgm:t>
        <a:bodyPr/>
        <a:lstStyle/>
        <a:p>
          <a:endParaRPr lang="es-CO"/>
        </a:p>
      </dgm:t>
    </dgm:pt>
    <dgm:pt modelId="{6DC5AB6E-9572-40D7-A106-18E0BB0A6A49}" type="sibTrans" cxnId="{EF601D64-BF87-4378-82BC-63A8DFAA73E8}">
      <dgm:prSet/>
      <dgm:spPr/>
      <dgm:t>
        <a:bodyPr/>
        <a:lstStyle/>
        <a:p>
          <a:endParaRPr lang="es-CO"/>
        </a:p>
      </dgm:t>
    </dgm:pt>
    <dgm:pt modelId="{D7064F6E-66B3-4525-80A9-8FB06F0CD091}">
      <dgm:prSet custT="1"/>
      <dgm:spPr/>
      <dgm:t>
        <a:bodyPr/>
        <a:lstStyle/>
        <a:p>
          <a:pPr>
            <a:buFont typeface="Arial" panose="020B0604020202020204" pitchFamily="34" charset="0"/>
            <a:buChar char="•"/>
          </a:pPr>
          <a:r>
            <a:rPr lang="en-US" sz="1400" dirty="0"/>
            <a:t>Resources under a single, centralized VDS exchange.</a:t>
          </a:r>
          <a:endParaRPr lang="es-CO" sz="1400" dirty="0"/>
        </a:p>
      </dgm:t>
    </dgm:pt>
    <dgm:pt modelId="{D0C66B82-BFA6-44D9-8002-2FCA87EEB1A2}" type="sibTrans" cxnId="{E4D32062-0A48-45C0-99EE-32B6D18A5F16}">
      <dgm:prSet/>
      <dgm:spPr/>
      <dgm:t>
        <a:bodyPr/>
        <a:lstStyle/>
        <a:p>
          <a:endParaRPr lang="es-CO"/>
        </a:p>
      </dgm:t>
    </dgm:pt>
    <dgm:pt modelId="{363735D1-ACCD-4161-AAC2-36B24D910B8F}" type="parTrans" cxnId="{E4D32062-0A48-45C0-99EE-32B6D18A5F16}">
      <dgm:prSet/>
      <dgm:spPr/>
      <dgm:t>
        <a:bodyPr/>
        <a:lstStyle/>
        <a:p>
          <a:endParaRPr lang="es-CO"/>
        </a:p>
      </dgm:t>
    </dgm:pt>
    <dgm:pt modelId="{4BE32F5F-B762-4C35-B6F6-31B827075A14}" type="pres">
      <dgm:prSet presAssocID="{5022543A-54C7-4E7D-81FC-2B8B05866254}" presName="Name0" presStyleCnt="0">
        <dgm:presLayoutVars>
          <dgm:dir/>
          <dgm:animLvl val="lvl"/>
          <dgm:resizeHandles val="exact"/>
        </dgm:presLayoutVars>
      </dgm:prSet>
      <dgm:spPr/>
    </dgm:pt>
    <dgm:pt modelId="{D78D69DF-AE5A-4CED-9753-9282D3062B47}" type="pres">
      <dgm:prSet presAssocID="{D7A87B4D-12CB-4135-8E87-077237F188AA}" presName="composite" presStyleCnt="0"/>
      <dgm:spPr/>
    </dgm:pt>
    <dgm:pt modelId="{DA95E39C-4B18-4609-B1CF-ECC7EF7EF27A}" type="pres">
      <dgm:prSet presAssocID="{D7A87B4D-12CB-4135-8E87-077237F188AA}" presName="parTx" presStyleLbl="node1" presStyleIdx="0" presStyleCnt="4" custLinFactNeighborX="-1990" custLinFactNeighborY="7961">
        <dgm:presLayoutVars>
          <dgm:chMax val="0"/>
          <dgm:chPref val="0"/>
          <dgm:bulletEnabled val="1"/>
        </dgm:presLayoutVars>
      </dgm:prSet>
      <dgm:spPr>
        <a:solidFill>
          <a:srgbClr val="92D050"/>
        </a:solidFill>
      </dgm:spPr>
    </dgm:pt>
    <dgm:pt modelId="{F720F19A-F06D-42BB-B269-E37428267AA1}" type="pres">
      <dgm:prSet presAssocID="{D7A87B4D-12CB-4135-8E87-077237F188AA}" presName="desTx" presStyleLbl="revTx" presStyleIdx="0" presStyleCnt="3" custScaleX="120479" custScaleY="119223" custLinFactNeighborX="2455" custLinFactNeighborY="20754">
        <dgm:presLayoutVars>
          <dgm:bulletEnabled val="1"/>
        </dgm:presLayoutVars>
      </dgm:prSet>
      <dgm:spPr/>
    </dgm:pt>
    <dgm:pt modelId="{21EE283C-C015-4511-A082-46843FFCD107}" type="pres">
      <dgm:prSet presAssocID="{093E4F38-A87D-48F5-BEA2-2F3EA803E2E6}" presName="space" presStyleCnt="0"/>
      <dgm:spPr/>
    </dgm:pt>
    <dgm:pt modelId="{D1877F56-EC81-41F9-BD9C-5A8067F1C475}" type="pres">
      <dgm:prSet presAssocID="{416A381A-5393-4B1E-87DF-21E583532FB0}" presName="composite" presStyleCnt="0"/>
      <dgm:spPr/>
    </dgm:pt>
    <dgm:pt modelId="{962A5AB4-CAA6-41DA-9607-C5895EB61247}" type="pres">
      <dgm:prSet presAssocID="{416A381A-5393-4B1E-87DF-21E583532FB0}" presName="parTx" presStyleLbl="node1" presStyleIdx="1" presStyleCnt="4">
        <dgm:presLayoutVars>
          <dgm:chMax val="0"/>
          <dgm:chPref val="0"/>
          <dgm:bulletEnabled val="1"/>
        </dgm:presLayoutVars>
      </dgm:prSet>
      <dgm:spPr>
        <a:solidFill>
          <a:srgbClr val="92D050"/>
        </a:solidFill>
      </dgm:spPr>
    </dgm:pt>
    <dgm:pt modelId="{C85F5CAE-8333-466A-903B-BF841D2A36EB}" type="pres">
      <dgm:prSet presAssocID="{416A381A-5393-4B1E-87DF-21E583532FB0}" presName="desTx" presStyleLbl="revTx" presStyleIdx="1" presStyleCnt="3" custScaleX="105074" custScaleY="107093" custLinFactNeighborX="10812" custLinFactNeighborY="6273">
        <dgm:presLayoutVars>
          <dgm:bulletEnabled val="1"/>
        </dgm:presLayoutVars>
      </dgm:prSet>
      <dgm:spPr/>
    </dgm:pt>
    <dgm:pt modelId="{5361DE34-EBE3-414B-A5E6-EAD1A669263B}" type="pres">
      <dgm:prSet presAssocID="{E6078D7E-BC91-4C55-B238-814375663DA0}" presName="space" presStyleCnt="0"/>
      <dgm:spPr/>
    </dgm:pt>
    <dgm:pt modelId="{9B053332-C749-4A37-B130-F1CB83FFD8E9}" type="pres">
      <dgm:prSet presAssocID="{8D5D71AF-73AF-49CE-A03F-C025BE9022B4}" presName="composite" presStyleCnt="0"/>
      <dgm:spPr/>
    </dgm:pt>
    <dgm:pt modelId="{37ED8AAF-0045-40DF-BCD9-EAD6E52BE664}" type="pres">
      <dgm:prSet presAssocID="{8D5D71AF-73AF-49CE-A03F-C025BE9022B4}" presName="parTx" presStyleLbl="node1" presStyleIdx="2" presStyleCnt="4" custScaleX="177759">
        <dgm:presLayoutVars>
          <dgm:chMax val="0"/>
          <dgm:chPref val="0"/>
          <dgm:bulletEnabled val="1"/>
        </dgm:presLayoutVars>
      </dgm:prSet>
      <dgm:spPr>
        <a:xfrm>
          <a:off x="5051242" y="1272425"/>
          <a:ext cx="3818373" cy="1096225"/>
        </a:xfrm>
        <a:prstGeom prst="chevron">
          <a:avLst/>
        </a:prstGeom>
      </dgm:spPr>
    </dgm:pt>
    <dgm:pt modelId="{4B965479-E19B-49AD-B834-D85B11AD1B7D}" type="pres">
      <dgm:prSet presAssocID="{8D5D71AF-73AF-49CE-A03F-C025BE9022B4}" presName="desTx" presStyleLbl="revTx" presStyleIdx="2" presStyleCnt="3" custScaleX="181593" custLinFactNeighborX="9180" custLinFactNeighborY="-798">
        <dgm:presLayoutVars>
          <dgm:bulletEnabled val="1"/>
        </dgm:presLayoutVars>
      </dgm:prSet>
      <dgm:spPr/>
    </dgm:pt>
    <dgm:pt modelId="{39FEB4E7-FF03-4C9A-AD82-F98CDF119044}" type="pres">
      <dgm:prSet presAssocID="{9D83FA9B-F288-4A97-93C9-0F4781511EBF}" presName="space" presStyleCnt="0"/>
      <dgm:spPr/>
    </dgm:pt>
    <dgm:pt modelId="{6B210603-3B81-4D85-B38A-E845B98E39FD}" type="pres">
      <dgm:prSet presAssocID="{3FFDD391-D0A2-4D11-852B-FF6DE2D0B687}" presName="composite" presStyleCnt="0"/>
      <dgm:spPr/>
    </dgm:pt>
    <dgm:pt modelId="{7E1FEC30-898C-473C-BEE6-B5591FF3D6CF}" type="pres">
      <dgm:prSet presAssocID="{3FFDD391-D0A2-4D11-852B-FF6DE2D0B687}" presName="parTx" presStyleLbl="node1" presStyleIdx="3" presStyleCnt="4">
        <dgm:presLayoutVars>
          <dgm:chMax val="0"/>
          <dgm:chPref val="0"/>
          <dgm:bulletEnabled val="1"/>
        </dgm:presLayoutVars>
      </dgm:prSet>
      <dgm:spPr>
        <a:xfrm>
          <a:off x="8653616" y="1272425"/>
          <a:ext cx="2740564" cy="1096225"/>
        </a:xfrm>
        <a:prstGeom prst="chevron">
          <a:avLst/>
        </a:prstGeom>
      </dgm:spPr>
    </dgm:pt>
    <dgm:pt modelId="{8EAE668C-6168-468E-9C7D-BDD0EDADE374}" type="pres">
      <dgm:prSet presAssocID="{3FFDD391-D0A2-4D11-852B-FF6DE2D0B687}" presName="desTx" presStyleLbl="revTx" presStyleIdx="2" presStyleCnt="3">
        <dgm:presLayoutVars>
          <dgm:bulletEnabled val="1"/>
        </dgm:presLayoutVars>
      </dgm:prSet>
      <dgm:spPr/>
    </dgm:pt>
  </dgm:ptLst>
  <dgm:cxnLst>
    <dgm:cxn modelId="{57C36918-B703-4CB7-8218-81B5BA6017A9}" type="presOf" srcId="{6D88B3C2-6278-4C55-BEA5-83DD21B24055}" destId="{F720F19A-F06D-42BB-B269-E37428267AA1}" srcOrd="0" destOrd="0" presId="urn:microsoft.com/office/officeart/2005/8/layout/chevron1"/>
    <dgm:cxn modelId="{4B0BF621-1104-4417-AB95-E3E80DFB5AE3}" srcId="{D7A87B4D-12CB-4135-8E87-077237F188AA}" destId="{6D88B3C2-6278-4C55-BEA5-83DD21B24055}" srcOrd="0" destOrd="0" parTransId="{1A3D07B1-F9E8-405D-9B06-B90A6F9C8A11}" sibTransId="{B0F75A5D-E7EF-4E69-AF65-9CA45C4CD108}"/>
    <dgm:cxn modelId="{0A683725-B5D9-47AC-BD0E-5B16684FC1DB}" type="presOf" srcId="{D7064F6E-66B3-4525-80A9-8FB06F0CD091}" destId="{C85F5CAE-8333-466A-903B-BF841D2A36EB}" srcOrd="0" destOrd="1" presId="urn:microsoft.com/office/officeart/2005/8/layout/chevron1"/>
    <dgm:cxn modelId="{3E2A1427-4C10-436E-B849-149D357606AD}" srcId="{5022543A-54C7-4E7D-81FC-2B8B05866254}" destId="{416A381A-5393-4B1E-87DF-21E583532FB0}" srcOrd="1" destOrd="0" parTransId="{FF8841A2-F413-43D9-A895-C294D7BBFC6E}" sibTransId="{E6078D7E-BC91-4C55-B238-814375663DA0}"/>
    <dgm:cxn modelId="{1BF5982D-3682-4359-A568-53967A5E62CB}" srcId="{5022543A-54C7-4E7D-81FC-2B8B05866254}" destId="{8D5D71AF-73AF-49CE-A03F-C025BE9022B4}" srcOrd="2" destOrd="0" parTransId="{43E31349-5716-4BA6-9779-9B187B0FACDB}" sibTransId="{9D83FA9B-F288-4A97-93C9-0F4781511EBF}"/>
    <dgm:cxn modelId="{EB616033-1270-427D-8F90-7AF4B8ADD8DF}" type="presOf" srcId="{6895986A-BFDD-4A2A-9E4A-57240582761E}" destId="{4B965479-E19B-49AD-B834-D85B11AD1B7D}" srcOrd="0" destOrd="0" presId="urn:microsoft.com/office/officeart/2005/8/layout/chevron1"/>
    <dgm:cxn modelId="{42DE5F35-4D8C-4EAA-9DCC-DF3A292664F0}" type="presOf" srcId="{3FFDD391-D0A2-4D11-852B-FF6DE2D0B687}" destId="{7E1FEC30-898C-473C-BEE6-B5591FF3D6CF}" srcOrd="0" destOrd="0" presId="urn:microsoft.com/office/officeart/2005/8/layout/chevron1"/>
    <dgm:cxn modelId="{8C770337-4C39-4F4D-B679-4AFB6BE4308E}" srcId="{5022543A-54C7-4E7D-81FC-2B8B05866254}" destId="{D7A87B4D-12CB-4135-8E87-077237F188AA}" srcOrd="0" destOrd="0" parTransId="{68DA9897-2034-403F-AB0B-AC5C5DCB747B}" sibTransId="{093E4F38-A87D-48F5-BEA2-2F3EA803E2E6}"/>
    <dgm:cxn modelId="{E4D32062-0A48-45C0-99EE-32B6D18A5F16}" srcId="{416A381A-5393-4B1E-87DF-21E583532FB0}" destId="{D7064F6E-66B3-4525-80A9-8FB06F0CD091}" srcOrd="1" destOrd="0" parTransId="{363735D1-ACCD-4161-AAC2-36B24D910B8F}" sibTransId="{D0C66B82-BFA6-44D9-8002-2FCA87EEB1A2}"/>
    <dgm:cxn modelId="{EF601D64-BF87-4378-82BC-63A8DFAA73E8}" srcId="{416A381A-5393-4B1E-87DF-21E583532FB0}" destId="{326B8BA8-5FDD-4C39-9417-56FC22130CA0}" srcOrd="2" destOrd="0" parTransId="{F1CC0464-2723-49EA-B966-84BEF6F24899}" sibTransId="{6DC5AB6E-9572-40D7-A106-18E0BB0A6A49}"/>
    <dgm:cxn modelId="{75637F49-ECE6-4A74-B624-41B187FA8EBC}" type="presOf" srcId="{8D5D71AF-73AF-49CE-A03F-C025BE9022B4}" destId="{37ED8AAF-0045-40DF-BCD9-EAD6E52BE664}" srcOrd="0" destOrd="0" presId="urn:microsoft.com/office/officeart/2005/8/layout/chevron1"/>
    <dgm:cxn modelId="{6A279F72-38B9-49CA-9CE4-86A83E2F9F75}" type="presOf" srcId="{326B8BA8-5FDD-4C39-9417-56FC22130CA0}" destId="{C85F5CAE-8333-466A-903B-BF841D2A36EB}" srcOrd="0" destOrd="2" presId="urn:microsoft.com/office/officeart/2005/8/layout/chevron1"/>
    <dgm:cxn modelId="{FCFD5757-63E0-4B9A-9157-1E8947C96CE4}" srcId="{5022543A-54C7-4E7D-81FC-2B8B05866254}" destId="{3FFDD391-D0A2-4D11-852B-FF6DE2D0B687}" srcOrd="3" destOrd="0" parTransId="{C68AB7A2-7345-40CC-B16C-DE4B709F6D81}" sibTransId="{C9D391AD-50AB-4B1E-AE6D-D59E7CF0AB96}"/>
    <dgm:cxn modelId="{A7F982B0-24E2-4C58-B8FB-900B01F939B3}" srcId="{416A381A-5393-4B1E-87DF-21E583532FB0}" destId="{5C7BC6CF-83C7-4F24-A051-12C44FA16C64}" srcOrd="0" destOrd="0" parTransId="{4082224A-9B78-41B4-B811-899022BFABA5}" sibTransId="{4BC3247E-82BE-4C5E-82E8-0BB4E0B921C5}"/>
    <dgm:cxn modelId="{3D67F6B1-477F-40B7-BB85-BCC2403A60DA}" type="presOf" srcId="{416A381A-5393-4B1E-87DF-21E583532FB0}" destId="{962A5AB4-CAA6-41DA-9607-C5895EB61247}" srcOrd="0" destOrd="0" presId="urn:microsoft.com/office/officeart/2005/8/layout/chevron1"/>
    <dgm:cxn modelId="{B1388FC1-E1F9-4783-836E-2CFE2E6E9A2B}" srcId="{8D5D71AF-73AF-49CE-A03F-C025BE9022B4}" destId="{6895986A-BFDD-4A2A-9E4A-57240582761E}" srcOrd="0" destOrd="0" parTransId="{691EB880-7E27-4724-A903-840B54BC3673}" sibTransId="{0DE4BFB2-57C1-48DC-916B-4D6EF420D82D}"/>
    <dgm:cxn modelId="{CE6934E6-B5B5-4A79-9499-CCF6B64DF0F6}" type="presOf" srcId="{5022543A-54C7-4E7D-81FC-2B8B05866254}" destId="{4BE32F5F-B762-4C35-B6F6-31B827075A14}" srcOrd="0" destOrd="0" presId="urn:microsoft.com/office/officeart/2005/8/layout/chevron1"/>
    <dgm:cxn modelId="{5AFC4AF1-6289-4463-8E72-CCA6D4EB4905}" type="presOf" srcId="{5C7BC6CF-83C7-4F24-A051-12C44FA16C64}" destId="{C85F5CAE-8333-466A-903B-BF841D2A36EB}" srcOrd="0" destOrd="0" presId="urn:microsoft.com/office/officeart/2005/8/layout/chevron1"/>
    <dgm:cxn modelId="{59DEA5F9-0EA4-48C0-B9C4-8668E3803B70}" type="presOf" srcId="{D7A87B4D-12CB-4135-8E87-077237F188AA}" destId="{DA95E39C-4B18-4609-B1CF-ECC7EF7EF27A}" srcOrd="0" destOrd="0" presId="urn:microsoft.com/office/officeart/2005/8/layout/chevron1"/>
    <dgm:cxn modelId="{0B00B873-10F9-44FF-B44B-671FFBC19A57}" type="presParOf" srcId="{4BE32F5F-B762-4C35-B6F6-31B827075A14}" destId="{D78D69DF-AE5A-4CED-9753-9282D3062B47}" srcOrd="0" destOrd="0" presId="urn:microsoft.com/office/officeart/2005/8/layout/chevron1"/>
    <dgm:cxn modelId="{30E81853-4E33-407A-B710-137A08A109B4}" type="presParOf" srcId="{D78D69DF-AE5A-4CED-9753-9282D3062B47}" destId="{DA95E39C-4B18-4609-B1CF-ECC7EF7EF27A}" srcOrd="0" destOrd="0" presId="urn:microsoft.com/office/officeart/2005/8/layout/chevron1"/>
    <dgm:cxn modelId="{80FD1300-F9E5-49F3-AEE5-86E5D66D6A00}" type="presParOf" srcId="{D78D69DF-AE5A-4CED-9753-9282D3062B47}" destId="{F720F19A-F06D-42BB-B269-E37428267AA1}" srcOrd="1" destOrd="0" presId="urn:microsoft.com/office/officeart/2005/8/layout/chevron1"/>
    <dgm:cxn modelId="{40F65399-29B7-44E5-8204-308416B7D560}" type="presParOf" srcId="{4BE32F5F-B762-4C35-B6F6-31B827075A14}" destId="{21EE283C-C015-4511-A082-46843FFCD107}" srcOrd="1" destOrd="0" presId="urn:microsoft.com/office/officeart/2005/8/layout/chevron1"/>
    <dgm:cxn modelId="{CB910275-02E6-4AAE-9E86-3EF0F1C7C6F3}" type="presParOf" srcId="{4BE32F5F-B762-4C35-B6F6-31B827075A14}" destId="{D1877F56-EC81-41F9-BD9C-5A8067F1C475}" srcOrd="2" destOrd="0" presId="urn:microsoft.com/office/officeart/2005/8/layout/chevron1"/>
    <dgm:cxn modelId="{4DF50076-8348-42C3-8A0D-326EEDE6B4DE}" type="presParOf" srcId="{D1877F56-EC81-41F9-BD9C-5A8067F1C475}" destId="{962A5AB4-CAA6-41DA-9607-C5895EB61247}" srcOrd="0" destOrd="0" presId="urn:microsoft.com/office/officeart/2005/8/layout/chevron1"/>
    <dgm:cxn modelId="{EA36A0A7-AE89-441B-9B69-23F65E8886C5}" type="presParOf" srcId="{D1877F56-EC81-41F9-BD9C-5A8067F1C475}" destId="{C85F5CAE-8333-466A-903B-BF841D2A36EB}" srcOrd="1" destOrd="0" presId="urn:microsoft.com/office/officeart/2005/8/layout/chevron1"/>
    <dgm:cxn modelId="{54F470D0-D70E-4751-9C2C-DF7E39F08257}" type="presParOf" srcId="{4BE32F5F-B762-4C35-B6F6-31B827075A14}" destId="{5361DE34-EBE3-414B-A5E6-EAD1A669263B}" srcOrd="3" destOrd="0" presId="urn:microsoft.com/office/officeart/2005/8/layout/chevron1"/>
    <dgm:cxn modelId="{98A66716-8DD2-40CD-AEB8-F82D31BF956B}" type="presParOf" srcId="{4BE32F5F-B762-4C35-B6F6-31B827075A14}" destId="{9B053332-C749-4A37-B130-F1CB83FFD8E9}" srcOrd="4" destOrd="0" presId="urn:microsoft.com/office/officeart/2005/8/layout/chevron1"/>
    <dgm:cxn modelId="{29283C3B-A77A-42D6-AC9D-F0D115EDB140}" type="presParOf" srcId="{9B053332-C749-4A37-B130-F1CB83FFD8E9}" destId="{37ED8AAF-0045-40DF-BCD9-EAD6E52BE664}" srcOrd="0" destOrd="0" presId="urn:microsoft.com/office/officeart/2005/8/layout/chevron1"/>
    <dgm:cxn modelId="{75B57BC2-F864-4997-8AC3-181C012B231E}" type="presParOf" srcId="{9B053332-C749-4A37-B130-F1CB83FFD8E9}" destId="{4B965479-E19B-49AD-B834-D85B11AD1B7D}" srcOrd="1" destOrd="0" presId="urn:microsoft.com/office/officeart/2005/8/layout/chevron1"/>
    <dgm:cxn modelId="{0A3ED6C3-A759-43B9-8E5C-9A9DABF47400}" type="presParOf" srcId="{4BE32F5F-B762-4C35-B6F6-31B827075A14}" destId="{39FEB4E7-FF03-4C9A-AD82-F98CDF119044}" srcOrd="5" destOrd="0" presId="urn:microsoft.com/office/officeart/2005/8/layout/chevron1"/>
    <dgm:cxn modelId="{7154088D-C789-44EF-AB49-ECDAF4EB458B}" type="presParOf" srcId="{4BE32F5F-B762-4C35-B6F6-31B827075A14}" destId="{6B210603-3B81-4D85-B38A-E845B98E39FD}" srcOrd="6" destOrd="0" presId="urn:microsoft.com/office/officeart/2005/8/layout/chevron1"/>
    <dgm:cxn modelId="{28F18F4E-FCAF-4C6E-9DF1-F4458A1BF9AA}" type="presParOf" srcId="{6B210603-3B81-4D85-B38A-E845B98E39FD}" destId="{7E1FEC30-898C-473C-BEE6-B5591FF3D6CF}" srcOrd="0" destOrd="0" presId="urn:microsoft.com/office/officeart/2005/8/layout/chevron1"/>
    <dgm:cxn modelId="{A6CAC2B5-3EF1-435B-8E1A-243B45F6991C}" type="presParOf" srcId="{6B210603-3B81-4D85-B38A-E845B98E39FD}" destId="{8EAE668C-6168-468E-9C7D-BDD0EDADE374}"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22543A-54C7-4E7D-81FC-2B8B05866254}" type="doc">
      <dgm:prSet loTypeId="urn:microsoft.com/office/officeart/2005/8/layout/chevron1" loCatId="process" qsTypeId="urn:microsoft.com/office/officeart/2005/8/quickstyle/simple1" qsCatId="simple" csTypeId="urn:microsoft.com/office/officeart/2005/8/colors/accent3_1" csCatId="accent3" phldr="1"/>
      <dgm:spPr/>
    </dgm:pt>
    <dgm:pt modelId="{D7A87B4D-12CB-4135-8E87-077237F188AA}">
      <dgm:prSet phldrT="[Texto]"/>
      <dgm:spPr/>
      <dgm:t>
        <a:bodyPr/>
        <a:lstStyle/>
        <a:p>
          <a:r>
            <a:rPr lang="en-US" dirty="0"/>
            <a:t>Carry out an exercise of historical expenditure by region, depending on risk and prevalence of emergencies.</a:t>
          </a:r>
          <a:endParaRPr lang="es-CO" dirty="0"/>
        </a:p>
      </dgm:t>
    </dgm:pt>
    <dgm:pt modelId="{68DA9897-2034-403F-AB0B-AC5C5DCB747B}" type="parTrans" cxnId="{8C770337-4C39-4F4D-B679-4AFB6BE4308E}">
      <dgm:prSet/>
      <dgm:spPr/>
      <dgm:t>
        <a:bodyPr/>
        <a:lstStyle/>
        <a:p>
          <a:endParaRPr lang="es-CO"/>
        </a:p>
      </dgm:t>
    </dgm:pt>
    <dgm:pt modelId="{093E4F38-A87D-48F5-BEA2-2F3EA803E2E6}" type="sibTrans" cxnId="{8C770337-4C39-4F4D-B679-4AFB6BE4308E}">
      <dgm:prSet/>
      <dgm:spPr/>
      <dgm:t>
        <a:bodyPr/>
        <a:lstStyle/>
        <a:p>
          <a:endParaRPr lang="es-CO"/>
        </a:p>
      </dgm:t>
    </dgm:pt>
    <dgm:pt modelId="{6D88B3C2-6278-4C55-BEA5-83DD21B24055}">
      <dgm:prSet phldrT="[Texto]"/>
      <dgm:spPr/>
      <dgm:t>
        <a:bodyPr/>
        <a:lstStyle/>
        <a:p>
          <a:r>
            <a:rPr lang="en-US" dirty="0"/>
            <a:t>Identification of available contract by regions
Structuring contracts for emergency response in the missing regions</a:t>
          </a:r>
          <a:endParaRPr lang="es-CO" dirty="0"/>
        </a:p>
      </dgm:t>
    </dgm:pt>
    <dgm:pt modelId="{1A3D07B1-F9E8-405D-9B06-B90A6F9C8A11}" type="parTrans" cxnId="{4B0BF621-1104-4417-AB95-E3E80DFB5AE3}">
      <dgm:prSet/>
      <dgm:spPr/>
      <dgm:t>
        <a:bodyPr/>
        <a:lstStyle/>
        <a:p>
          <a:endParaRPr lang="es-CO"/>
        </a:p>
      </dgm:t>
    </dgm:pt>
    <dgm:pt modelId="{B0F75A5D-E7EF-4E69-AF65-9CA45C4CD108}" type="sibTrans" cxnId="{4B0BF621-1104-4417-AB95-E3E80DFB5AE3}">
      <dgm:prSet/>
      <dgm:spPr/>
      <dgm:t>
        <a:bodyPr/>
        <a:lstStyle/>
        <a:p>
          <a:endParaRPr lang="es-CO"/>
        </a:p>
      </dgm:t>
    </dgm:pt>
    <dgm:pt modelId="{4BE32F5F-B762-4C35-B6F6-31B827075A14}" type="pres">
      <dgm:prSet presAssocID="{5022543A-54C7-4E7D-81FC-2B8B05866254}" presName="Name0" presStyleCnt="0">
        <dgm:presLayoutVars>
          <dgm:dir/>
          <dgm:animLvl val="lvl"/>
          <dgm:resizeHandles val="exact"/>
        </dgm:presLayoutVars>
      </dgm:prSet>
      <dgm:spPr/>
    </dgm:pt>
    <dgm:pt modelId="{D78D69DF-AE5A-4CED-9753-9282D3062B47}" type="pres">
      <dgm:prSet presAssocID="{D7A87B4D-12CB-4135-8E87-077237F188AA}" presName="composite" presStyleCnt="0"/>
      <dgm:spPr/>
    </dgm:pt>
    <dgm:pt modelId="{DA95E39C-4B18-4609-B1CF-ECC7EF7EF27A}" type="pres">
      <dgm:prSet presAssocID="{D7A87B4D-12CB-4135-8E87-077237F188AA}" presName="parTx" presStyleLbl="node1" presStyleIdx="0" presStyleCnt="1">
        <dgm:presLayoutVars>
          <dgm:chMax val="0"/>
          <dgm:chPref val="0"/>
          <dgm:bulletEnabled val="1"/>
        </dgm:presLayoutVars>
      </dgm:prSet>
      <dgm:spPr>
        <a:solidFill>
          <a:srgbClr val="92D050"/>
        </a:solidFill>
      </dgm:spPr>
    </dgm:pt>
    <dgm:pt modelId="{F720F19A-F06D-42BB-B269-E37428267AA1}" type="pres">
      <dgm:prSet presAssocID="{D7A87B4D-12CB-4135-8E87-077237F188AA}" presName="desTx" presStyleLbl="revTx" presStyleIdx="0" presStyleCnt="1">
        <dgm:presLayoutVars>
          <dgm:bulletEnabled val="1"/>
        </dgm:presLayoutVars>
      </dgm:prSet>
      <dgm:spPr/>
    </dgm:pt>
  </dgm:ptLst>
  <dgm:cxnLst>
    <dgm:cxn modelId="{57C36918-B703-4CB7-8218-81B5BA6017A9}" type="presOf" srcId="{6D88B3C2-6278-4C55-BEA5-83DD21B24055}" destId="{F720F19A-F06D-42BB-B269-E37428267AA1}" srcOrd="0" destOrd="0" presId="urn:microsoft.com/office/officeart/2005/8/layout/chevron1"/>
    <dgm:cxn modelId="{4B0BF621-1104-4417-AB95-E3E80DFB5AE3}" srcId="{D7A87B4D-12CB-4135-8E87-077237F188AA}" destId="{6D88B3C2-6278-4C55-BEA5-83DD21B24055}" srcOrd="0" destOrd="0" parTransId="{1A3D07B1-F9E8-405D-9B06-B90A6F9C8A11}" sibTransId="{B0F75A5D-E7EF-4E69-AF65-9CA45C4CD108}"/>
    <dgm:cxn modelId="{8C770337-4C39-4F4D-B679-4AFB6BE4308E}" srcId="{5022543A-54C7-4E7D-81FC-2B8B05866254}" destId="{D7A87B4D-12CB-4135-8E87-077237F188AA}" srcOrd="0" destOrd="0" parTransId="{68DA9897-2034-403F-AB0B-AC5C5DCB747B}" sibTransId="{093E4F38-A87D-48F5-BEA2-2F3EA803E2E6}"/>
    <dgm:cxn modelId="{CE6934E6-B5B5-4A79-9499-CCF6B64DF0F6}" type="presOf" srcId="{5022543A-54C7-4E7D-81FC-2B8B05866254}" destId="{4BE32F5F-B762-4C35-B6F6-31B827075A14}" srcOrd="0" destOrd="0" presId="urn:microsoft.com/office/officeart/2005/8/layout/chevron1"/>
    <dgm:cxn modelId="{59DEA5F9-0EA4-48C0-B9C4-8668E3803B70}" type="presOf" srcId="{D7A87B4D-12CB-4135-8E87-077237F188AA}" destId="{DA95E39C-4B18-4609-B1CF-ECC7EF7EF27A}" srcOrd="0" destOrd="0" presId="urn:microsoft.com/office/officeart/2005/8/layout/chevron1"/>
    <dgm:cxn modelId="{0B00B873-10F9-44FF-B44B-671FFBC19A57}" type="presParOf" srcId="{4BE32F5F-B762-4C35-B6F6-31B827075A14}" destId="{D78D69DF-AE5A-4CED-9753-9282D3062B47}" srcOrd="0" destOrd="0" presId="urn:microsoft.com/office/officeart/2005/8/layout/chevron1"/>
    <dgm:cxn modelId="{30E81853-4E33-407A-B710-137A08A109B4}" type="presParOf" srcId="{D78D69DF-AE5A-4CED-9753-9282D3062B47}" destId="{DA95E39C-4B18-4609-B1CF-ECC7EF7EF27A}" srcOrd="0" destOrd="0" presId="urn:microsoft.com/office/officeart/2005/8/layout/chevron1"/>
    <dgm:cxn modelId="{80FD1300-F9E5-49F3-AEE5-86E5D66D6A00}" type="presParOf" srcId="{D78D69DF-AE5A-4CED-9753-9282D3062B47}" destId="{F720F19A-F06D-42BB-B269-E37428267AA1}" srcOrd="1"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22543A-54C7-4E7D-81FC-2B8B05866254}" type="doc">
      <dgm:prSet loTypeId="urn:microsoft.com/office/officeart/2005/8/layout/chevron1" loCatId="process" qsTypeId="urn:microsoft.com/office/officeart/2005/8/quickstyle/simple1" qsCatId="simple" csTypeId="urn:microsoft.com/office/officeart/2005/8/colors/accent3_1" csCatId="accent3" phldr="1"/>
      <dgm:spPr/>
    </dgm:pt>
    <dgm:pt modelId="{D7A87B4D-12CB-4135-8E87-077237F188AA}">
      <dgm:prSet phldrT="[Texto]"/>
      <dgm:spPr/>
      <dgm:t>
        <a:bodyPr/>
        <a:lstStyle/>
        <a:p>
          <a:r>
            <a:rPr lang="en-US" dirty="0"/>
            <a:t>Carry out an exercise of historical expenditure by region, depending on risk and prevalence of emergencies.</a:t>
          </a:r>
          <a:endParaRPr lang="es-CO" dirty="0"/>
        </a:p>
      </dgm:t>
    </dgm:pt>
    <dgm:pt modelId="{68DA9897-2034-403F-AB0B-AC5C5DCB747B}" type="parTrans" cxnId="{8C770337-4C39-4F4D-B679-4AFB6BE4308E}">
      <dgm:prSet/>
      <dgm:spPr/>
      <dgm:t>
        <a:bodyPr/>
        <a:lstStyle/>
        <a:p>
          <a:endParaRPr lang="es-CO"/>
        </a:p>
      </dgm:t>
    </dgm:pt>
    <dgm:pt modelId="{093E4F38-A87D-48F5-BEA2-2F3EA803E2E6}" type="sibTrans" cxnId="{8C770337-4C39-4F4D-B679-4AFB6BE4308E}">
      <dgm:prSet/>
      <dgm:spPr/>
      <dgm:t>
        <a:bodyPr/>
        <a:lstStyle/>
        <a:p>
          <a:endParaRPr lang="es-CO"/>
        </a:p>
      </dgm:t>
    </dgm:pt>
    <dgm:pt modelId="{6D88B3C2-6278-4C55-BEA5-83DD21B24055}">
      <dgm:prSet phldrT="[Texto]"/>
      <dgm:spPr/>
      <dgm:t>
        <a:bodyPr/>
        <a:lstStyle/>
        <a:p>
          <a:r>
            <a:rPr lang="en-US" dirty="0"/>
            <a:t>Identification of available contract by regions
Structuring contracts for emergency response in the missing regions</a:t>
          </a:r>
          <a:endParaRPr lang="es-CO" dirty="0"/>
        </a:p>
      </dgm:t>
    </dgm:pt>
    <dgm:pt modelId="{1A3D07B1-F9E8-405D-9B06-B90A6F9C8A11}" type="parTrans" cxnId="{4B0BF621-1104-4417-AB95-E3E80DFB5AE3}">
      <dgm:prSet/>
      <dgm:spPr/>
      <dgm:t>
        <a:bodyPr/>
        <a:lstStyle/>
        <a:p>
          <a:endParaRPr lang="es-CO"/>
        </a:p>
      </dgm:t>
    </dgm:pt>
    <dgm:pt modelId="{B0F75A5D-E7EF-4E69-AF65-9CA45C4CD108}" type="sibTrans" cxnId="{4B0BF621-1104-4417-AB95-E3E80DFB5AE3}">
      <dgm:prSet/>
      <dgm:spPr/>
      <dgm:t>
        <a:bodyPr/>
        <a:lstStyle/>
        <a:p>
          <a:endParaRPr lang="es-CO"/>
        </a:p>
      </dgm:t>
    </dgm:pt>
    <dgm:pt modelId="{4BE32F5F-B762-4C35-B6F6-31B827075A14}" type="pres">
      <dgm:prSet presAssocID="{5022543A-54C7-4E7D-81FC-2B8B05866254}" presName="Name0" presStyleCnt="0">
        <dgm:presLayoutVars>
          <dgm:dir/>
          <dgm:animLvl val="lvl"/>
          <dgm:resizeHandles val="exact"/>
        </dgm:presLayoutVars>
      </dgm:prSet>
      <dgm:spPr/>
    </dgm:pt>
    <dgm:pt modelId="{D78D69DF-AE5A-4CED-9753-9282D3062B47}" type="pres">
      <dgm:prSet presAssocID="{D7A87B4D-12CB-4135-8E87-077237F188AA}" presName="composite" presStyleCnt="0"/>
      <dgm:spPr/>
    </dgm:pt>
    <dgm:pt modelId="{DA95E39C-4B18-4609-B1CF-ECC7EF7EF27A}" type="pres">
      <dgm:prSet presAssocID="{D7A87B4D-12CB-4135-8E87-077237F188AA}" presName="parTx" presStyleLbl="node1" presStyleIdx="0" presStyleCnt="1">
        <dgm:presLayoutVars>
          <dgm:chMax val="0"/>
          <dgm:chPref val="0"/>
          <dgm:bulletEnabled val="1"/>
        </dgm:presLayoutVars>
      </dgm:prSet>
      <dgm:spPr>
        <a:solidFill>
          <a:srgbClr val="92D050"/>
        </a:solidFill>
      </dgm:spPr>
    </dgm:pt>
    <dgm:pt modelId="{F720F19A-F06D-42BB-B269-E37428267AA1}" type="pres">
      <dgm:prSet presAssocID="{D7A87B4D-12CB-4135-8E87-077237F188AA}" presName="desTx" presStyleLbl="revTx" presStyleIdx="0" presStyleCnt="1">
        <dgm:presLayoutVars>
          <dgm:bulletEnabled val="1"/>
        </dgm:presLayoutVars>
      </dgm:prSet>
      <dgm:spPr/>
    </dgm:pt>
  </dgm:ptLst>
  <dgm:cxnLst>
    <dgm:cxn modelId="{57C36918-B703-4CB7-8218-81B5BA6017A9}" type="presOf" srcId="{6D88B3C2-6278-4C55-BEA5-83DD21B24055}" destId="{F720F19A-F06D-42BB-B269-E37428267AA1}" srcOrd="0" destOrd="0" presId="urn:microsoft.com/office/officeart/2005/8/layout/chevron1"/>
    <dgm:cxn modelId="{4B0BF621-1104-4417-AB95-E3E80DFB5AE3}" srcId="{D7A87B4D-12CB-4135-8E87-077237F188AA}" destId="{6D88B3C2-6278-4C55-BEA5-83DD21B24055}" srcOrd="0" destOrd="0" parTransId="{1A3D07B1-F9E8-405D-9B06-B90A6F9C8A11}" sibTransId="{B0F75A5D-E7EF-4E69-AF65-9CA45C4CD108}"/>
    <dgm:cxn modelId="{8C770337-4C39-4F4D-B679-4AFB6BE4308E}" srcId="{5022543A-54C7-4E7D-81FC-2B8B05866254}" destId="{D7A87B4D-12CB-4135-8E87-077237F188AA}" srcOrd="0" destOrd="0" parTransId="{68DA9897-2034-403F-AB0B-AC5C5DCB747B}" sibTransId="{093E4F38-A87D-48F5-BEA2-2F3EA803E2E6}"/>
    <dgm:cxn modelId="{CE6934E6-B5B5-4A79-9499-CCF6B64DF0F6}" type="presOf" srcId="{5022543A-54C7-4E7D-81FC-2B8B05866254}" destId="{4BE32F5F-B762-4C35-B6F6-31B827075A14}" srcOrd="0" destOrd="0" presId="urn:microsoft.com/office/officeart/2005/8/layout/chevron1"/>
    <dgm:cxn modelId="{59DEA5F9-0EA4-48C0-B9C4-8668E3803B70}" type="presOf" srcId="{D7A87B4D-12CB-4135-8E87-077237F188AA}" destId="{DA95E39C-4B18-4609-B1CF-ECC7EF7EF27A}" srcOrd="0" destOrd="0" presId="urn:microsoft.com/office/officeart/2005/8/layout/chevron1"/>
    <dgm:cxn modelId="{0B00B873-10F9-44FF-B44B-671FFBC19A57}" type="presParOf" srcId="{4BE32F5F-B762-4C35-B6F6-31B827075A14}" destId="{D78D69DF-AE5A-4CED-9753-9282D3062B47}" srcOrd="0" destOrd="0" presId="urn:microsoft.com/office/officeart/2005/8/layout/chevron1"/>
    <dgm:cxn modelId="{30E81853-4E33-407A-B710-137A08A109B4}" type="presParOf" srcId="{D78D69DF-AE5A-4CED-9753-9282D3062B47}" destId="{DA95E39C-4B18-4609-B1CF-ECC7EF7EF27A}" srcOrd="0" destOrd="0" presId="urn:microsoft.com/office/officeart/2005/8/layout/chevron1"/>
    <dgm:cxn modelId="{80FD1300-F9E5-49F3-AEE5-86E5D66D6A00}" type="presParOf" srcId="{D78D69DF-AE5A-4CED-9753-9282D3062B47}" destId="{F720F19A-F06D-42BB-B269-E37428267AA1}"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022543A-54C7-4E7D-81FC-2B8B05866254}" type="doc">
      <dgm:prSet loTypeId="urn:microsoft.com/office/officeart/2005/8/layout/chevron1" loCatId="process" qsTypeId="urn:microsoft.com/office/officeart/2005/8/quickstyle/simple1" qsCatId="simple" csTypeId="urn:microsoft.com/office/officeart/2005/8/colors/accent3_1" csCatId="accent3" phldr="1"/>
      <dgm:spPr/>
    </dgm:pt>
    <dgm:pt modelId="{D7A87B4D-12CB-4135-8E87-077237F188AA}">
      <dgm:prSet phldrT="[Texto]"/>
      <dgm:spPr/>
      <dgm:t>
        <a:bodyPr/>
        <a:lstStyle/>
        <a:p>
          <a:r>
            <a:rPr lang="en-US" dirty="0"/>
            <a:t>Carry out an exercise of historical expenditure by region, depending on risk, prevalence of emergencies, etc.</a:t>
          </a:r>
          <a:endParaRPr lang="es-CO" dirty="0"/>
        </a:p>
      </dgm:t>
    </dgm:pt>
    <dgm:pt modelId="{68DA9897-2034-403F-AB0B-AC5C5DCB747B}" type="parTrans" cxnId="{8C770337-4C39-4F4D-B679-4AFB6BE4308E}">
      <dgm:prSet/>
      <dgm:spPr/>
      <dgm:t>
        <a:bodyPr/>
        <a:lstStyle/>
        <a:p>
          <a:endParaRPr lang="es-CO"/>
        </a:p>
      </dgm:t>
    </dgm:pt>
    <dgm:pt modelId="{093E4F38-A87D-48F5-BEA2-2F3EA803E2E6}" type="sibTrans" cxnId="{8C770337-4C39-4F4D-B679-4AFB6BE4308E}">
      <dgm:prSet/>
      <dgm:spPr/>
      <dgm:t>
        <a:bodyPr/>
        <a:lstStyle/>
        <a:p>
          <a:endParaRPr lang="es-CO"/>
        </a:p>
      </dgm:t>
    </dgm:pt>
    <dgm:pt modelId="{416A381A-5393-4B1E-87DF-21E583532FB0}">
      <dgm:prSet phldrT="[Texto]"/>
      <dgm:spPr/>
      <dgm:t>
        <a:bodyPr/>
        <a:lstStyle/>
        <a:p>
          <a:r>
            <a:rPr lang="en-US" dirty="0"/>
            <a:t>Budgeting for a bag in the VDS to deal with emergencies (with this specific use)</a:t>
          </a:r>
          <a:endParaRPr lang="es-CO" dirty="0"/>
        </a:p>
      </dgm:t>
    </dgm:pt>
    <dgm:pt modelId="{FF8841A2-F413-43D9-A895-C294D7BBFC6E}" type="parTrans" cxnId="{3E2A1427-4C10-436E-B849-149D357606AD}">
      <dgm:prSet/>
      <dgm:spPr/>
      <dgm:t>
        <a:bodyPr/>
        <a:lstStyle/>
        <a:p>
          <a:endParaRPr lang="es-CO"/>
        </a:p>
      </dgm:t>
    </dgm:pt>
    <dgm:pt modelId="{E6078D7E-BC91-4C55-B238-814375663DA0}" type="sibTrans" cxnId="{3E2A1427-4C10-436E-B849-149D357606AD}">
      <dgm:prSet/>
      <dgm:spPr/>
      <dgm:t>
        <a:bodyPr/>
        <a:lstStyle/>
        <a:p>
          <a:endParaRPr lang="es-CO"/>
        </a:p>
      </dgm:t>
    </dgm:pt>
    <dgm:pt modelId="{6D88B3C2-6278-4C55-BEA5-83DD21B24055}">
      <dgm:prSet phldrT="[Texto]"/>
      <dgm:spPr/>
      <dgm:t>
        <a:bodyPr/>
        <a:lstStyle/>
        <a:p>
          <a:r>
            <a:rPr lang="en-US" dirty="0"/>
            <a:t>Identification of available vehicles by regional</a:t>
          </a:r>
          <a:endParaRPr lang="es-CO" dirty="0"/>
        </a:p>
      </dgm:t>
    </dgm:pt>
    <dgm:pt modelId="{1A3D07B1-F9E8-405D-9B06-B90A6F9C8A11}" type="parTrans" cxnId="{4B0BF621-1104-4417-AB95-E3E80DFB5AE3}">
      <dgm:prSet/>
      <dgm:spPr/>
      <dgm:t>
        <a:bodyPr/>
        <a:lstStyle/>
        <a:p>
          <a:endParaRPr lang="es-CO"/>
        </a:p>
      </dgm:t>
    </dgm:pt>
    <dgm:pt modelId="{B0F75A5D-E7EF-4E69-AF65-9CA45C4CD108}" type="sibTrans" cxnId="{4B0BF621-1104-4417-AB95-E3E80DFB5AE3}">
      <dgm:prSet/>
      <dgm:spPr/>
      <dgm:t>
        <a:bodyPr/>
        <a:lstStyle/>
        <a:p>
          <a:endParaRPr lang="es-CO"/>
        </a:p>
      </dgm:t>
    </dgm:pt>
    <dgm:pt modelId="{DC8C96BE-2469-4B65-85EF-6DB859A70FD5}">
      <dgm:prSet phldrT="[Texto]"/>
      <dgm:spPr/>
      <dgm:t>
        <a:bodyPr/>
        <a:lstStyle/>
        <a:p>
          <a:r>
            <a:rPr lang="en-US" dirty="0"/>
            <a:t>Structuring vehicles for emergency response in the missing regions</a:t>
          </a:r>
          <a:endParaRPr lang="es-CO" dirty="0"/>
        </a:p>
      </dgm:t>
    </dgm:pt>
    <dgm:pt modelId="{D1E6E8AC-2563-443C-A3B0-C5429DD4386D}" type="parTrans" cxnId="{E89CCD85-9C48-4DFB-A9C2-12B68D6BC5A8}">
      <dgm:prSet/>
      <dgm:spPr/>
      <dgm:t>
        <a:bodyPr/>
        <a:lstStyle/>
        <a:p>
          <a:endParaRPr lang="es-CO"/>
        </a:p>
      </dgm:t>
    </dgm:pt>
    <dgm:pt modelId="{56985068-8A57-40D4-ADF8-E281ADFE57D0}" type="sibTrans" cxnId="{E89CCD85-9C48-4DFB-A9C2-12B68D6BC5A8}">
      <dgm:prSet/>
      <dgm:spPr/>
      <dgm:t>
        <a:bodyPr/>
        <a:lstStyle/>
        <a:p>
          <a:endParaRPr lang="es-CO"/>
        </a:p>
      </dgm:t>
    </dgm:pt>
    <dgm:pt modelId="{4BE32F5F-B762-4C35-B6F6-31B827075A14}" type="pres">
      <dgm:prSet presAssocID="{5022543A-54C7-4E7D-81FC-2B8B05866254}" presName="Name0" presStyleCnt="0">
        <dgm:presLayoutVars>
          <dgm:dir/>
          <dgm:animLvl val="lvl"/>
          <dgm:resizeHandles val="exact"/>
        </dgm:presLayoutVars>
      </dgm:prSet>
      <dgm:spPr/>
    </dgm:pt>
    <dgm:pt modelId="{D78D69DF-AE5A-4CED-9753-9282D3062B47}" type="pres">
      <dgm:prSet presAssocID="{D7A87B4D-12CB-4135-8E87-077237F188AA}" presName="composite" presStyleCnt="0"/>
      <dgm:spPr/>
    </dgm:pt>
    <dgm:pt modelId="{DA95E39C-4B18-4609-B1CF-ECC7EF7EF27A}" type="pres">
      <dgm:prSet presAssocID="{D7A87B4D-12CB-4135-8E87-077237F188AA}" presName="parTx" presStyleLbl="node1" presStyleIdx="0" presStyleCnt="2" custLinFactNeighborX="-583" custLinFactNeighborY="709">
        <dgm:presLayoutVars>
          <dgm:chMax val="0"/>
          <dgm:chPref val="0"/>
          <dgm:bulletEnabled val="1"/>
        </dgm:presLayoutVars>
      </dgm:prSet>
      <dgm:spPr>
        <a:solidFill>
          <a:srgbClr val="92D050"/>
        </a:solidFill>
      </dgm:spPr>
    </dgm:pt>
    <dgm:pt modelId="{F720F19A-F06D-42BB-B269-E37428267AA1}" type="pres">
      <dgm:prSet presAssocID="{D7A87B4D-12CB-4135-8E87-077237F188AA}" presName="desTx" presStyleLbl="revTx" presStyleIdx="0" presStyleCnt="1">
        <dgm:presLayoutVars>
          <dgm:bulletEnabled val="1"/>
        </dgm:presLayoutVars>
      </dgm:prSet>
      <dgm:spPr/>
    </dgm:pt>
    <dgm:pt modelId="{21EE283C-C015-4511-A082-46843FFCD107}" type="pres">
      <dgm:prSet presAssocID="{093E4F38-A87D-48F5-BEA2-2F3EA803E2E6}" presName="space" presStyleCnt="0"/>
      <dgm:spPr/>
    </dgm:pt>
    <dgm:pt modelId="{D1877F56-EC81-41F9-BD9C-5A8067F1C475}" type="pres">
      <dgm:prSet presAssocID="{416A381A-5393-4B1E-87DF-21E583532FB0}" presName="composite" presStyleCnt="0"/>
      <dgm:spPr/>
    </dgm:pt>
    <dgm:pt modelId="{962A5AB4-CAA6-41DA-9607-C5895EB61247}" type="pres">
      <dgm:prSet presAssocID="{416A381A-5393-4B1E-87DF-21E583532FB0}" presName="parTx" presStyleLbl="node1" presStyleIdx="1" presStyleCnt="2">
        <dgm:presLayoutVars>
          <dgm:chMax val="0"/>
          <dgm:chPref val="0"/>
          <dgm:bulletEnabled val="1"/>
        </dgm:presLayoutVars>
      </dgm:prSet>
      <dgm:spPr>
        <a:solidFill>
          <a:srgbClr val="92D050"/>
        </a:solidFill>
      </dgm:spPr>
    </dgm:pt>
    <dgm:pt modelId="{C85F5CAE-8333-466A-903B-BF841D2A36EB}" type="pres">
      <dgm:prSet presAssocID="{416A381A-5393-4B1E-87DF-21E583532FB0}" presName="desTx" presStyleLbl="revTx" presStyleIdx="0" presStyleCnt="1">
        <dgm:presLayoutVars>
          <dgm:bulletEnabled val="1"/>
        </dgm:presLayoutVars>
      </dgm:prSet>
      <dgm:spPr/>
    </dgm:pt>
  </dgm:ptLst>
  <dgm:cxnLst>
    <dgm:cxn modelId="{57C36918-B703-4CB7-8218-81B5BA6017A9}" type="presOf" srcId="{6D88B3C2-6278-4C55-BEA5-83DD21B24055}" destId="{F720F19A-F06D-42BB-B269-E37428267AA1}" srcOrd="0" destOrd="0" presId="urn:microsoft.com/office/officeart/2005/8/layout/chevron1"/>
    <dgm:cxn modelId="{4B0BF621-1104-4417-AB95-E3E80DFB5AE3}" srcId="{D7A87B4D-12CB-4135-8E87-077237F188AA}" destId="{6D88B3C2-6278-4C55-BEA5-83DD21B24055}" srcOrd="0" destOrd="0" parTransId="{1A3D07B1-F9E8-405D-9B06-B90A6F9C8A11}" sibTransId="{B0F75A5D-E7EF-4E69-AF65-9CA45C4CD108}"/>
    <dgm:cxn modelId="{3E2A1427-4C10-436E-B849-149D357606AD}" srcId="{5022543A-54C7-4E7D-81FC-2B8B05866254}" destId="{416A381A-5393-4B1E-87DF-21E583532FB0}" srcOrd="1" destOrd="0" parTransId="{FF8841A2-F413-43D9-A895-C294D7BBFC6E}" sibTransId="{E6078D7E-BC91-4C55-B238-814375663DA0}"/>
    <dgm:cxn modelId="{8C770337-4C39-4F4D-B679-4AFB6BE4308E}" srcId="{5022543A-54C7-4E7D-81FC-2B8B05866254}" destId="{D7A87B4D-12CB-4135-8E87-077237F188AA}" srcOrd="0" destOrd="0" parTransId="{68DA9897-2034-403F-AB0B-AC5C5DCB747B}" sibTransId="{093E4F38-A87D-48F5-BEA2-2F3EA803E2E6}"/>
    <dgm:cxn modelId="{6330ED3D-4E88-4D1A-87E4-CA4122CA38F1}" type="presOf" srcId="{DC8C96BE-2469-4B65-85EF-6DB859A70FD5}" destId="{F720F19A-F06D-42BB-B269-E37428267AA1}" srcOrd="0" destOrd="1" presId="urn:microsoft.com/office/officeart/2005/8/layout/chevron1"/>
    <dgm:cxn modelId="{E89CCD85-9C48-4DFB-A9C2-12B68D6BC5A8}" srcId="{D7A87B4D-12CB-4135-8E87-077237F188AA}" destId="{DC8C96BE-2469-4B65-85EF-6DB859A70FD5}" srcOrd="1" destOrd="0" parTransId="{D1E6E8AC-2563-443C-A3B0-C5429DD4386D}" sibTransId="{56985068-8A57-40D4-ADF8-E281ADFE57D0}"/>
    <dgm:cxn modelId="{3D67F6B1-477F-40B7-BB85-BCC2403A60DA}" type="presOf" srcId="{416A381A-5393-4B1E-87DF-21E583532FB0}" destId="{962A5AB4-CAA6-41DA-9607-C5895EB61247}" srcOrd="0" destOrd="0" presId="urn:microsoft.com/office/officeart/2005/8/layout/chevron1"/>
    <dgm:cxn modelId="{CE6934E6-B5B5-4A79-9499-CCF6B64DF0F6}" type="presOf" srcId="{5022543A-54C7-4E7D-81FC-2B8B05866254}" destId="{4BE32F5F-B762-4C35-B6F6-31B827075A14}" srcOrd="0" destOrd="0" presId="urn:microsoft.com/office/officeart/2005/8/layout/chevron1"/>
    <dgm:cxn modelId="{59DEA5F9-0EA4-48C0-B9C4-8668E3803B70}" type="presOf" srcId="{D7A87B4D-12CB-4135-8E87-077237F188AA}" destId="{DA95E39C-4B18-4609-B1CF-ECC7EF7EF27A}" srcOrd="0" destOrd="0" presId="urn:microsoft.com/office/officeart/2005/8/layout/chevron1"/>
    <dgm:cxn modelId="{0B00B873-10F9-44FF-B44B-671FFBC19A57}" type="presParOf" srcId="{4BE32F5F-B762-4C35-B6F6-31B827075A14}" destId="{D78D69DF-AE5A-4CED-9753-9282D3062B47}" srcOrd="0" destOrd="0" presId="urn:microsoft.com/office/officeart/2005/8/layout/chevron1"/>
    <dgm:cxn modelId="{30E81853-4E33-407A-B710-137A08A109B4}" type="presParOf" srcId="{D78D69DF-AE5A-4CED-9753-9282D3062B47}" destId="{DA95E39C-4B18-4609-B1CF-ECC7EF7EF27A}" srcOrd="0" destOrd="0" presId="urn:microsoft.com/office/officeart/2005/8/layout/chevron1"/>
    <dgm:cxn modelId="{80FD1300-F9E5-49F3-AEE5-86E5D66D6A00}" type="presParOf" srcId="{D78D69DF-AE5A-4CED-9753-9282D3062B47}" destId="{F720F19A-F06D-42BB-B269-E37428267AA1}" srcOrd="1" destOrd="0" presId="urn:microsoft.com/office/officeart/2005/8/layout/chevron1"/>
    <dgm:cxn modelId="{40F65399-29B7-44E5-8204-308416B7D560}" type="presParOf" srcId="{4BE32F5F-B762-4C35-B6F6-31B827075A14}" destId="{21EE283C-C015-4511-A082-46843FFCD107}" srcOrd="1" destOrd="0" presId="urn:microsoft.com/office/officeart/2005/8/layout/chevron1"/>
    <dgm:cxn modelId="{CB910275-02E6-4AAE-9E86-3EF0F1C7C6F3}" type="presParOf" srcId="{4BE32F5F-B762-4C35-B6F6-31B827075A14}" destId="{D1877F56-EC81-41F9-BD9C-5A8067F1C475}" srcOrd="2" destOrd="0" presId="urn:microsoft.com/office/officeart/2005/8/layout/chevron1"/>
    <dgm:cxn modelId="{4DF50076-8348-42C3-8A0D-326EEDE6B4DE}" type="presParOf" srcId="{D1877F56-EC81-41F9-BD9C-5A8067F1C475}" destId="{962A5AB4-CAA6-41DA-9607-C5895EB61247}" srcOrd="0" destOrd="0" presId="urn:microsoft.com/office/officeart/2005/8/layout/chevron1"/>
    <dgm:cxn modelId="{EA36A0A7-AE89-441B-9B69-23F65E8886C5}" type="presParOf" srcId="{D1877F56-EC81-41F9-BD9C-5A8067F1C475}" destId="{C85F5CAE-8333-466A-903B-BF841D2A36EB}"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5E39C-4B18-4609-B1CF-ECC7EF7EF27A}">
      <dsp:nvSpPr>
        <dsp:cNvPr id="0" name=""/>
        <dsp:cNvSpPr/>
      </dsp:nvSpPr>
      <dsp:spPr>
        <a:xfrm>
          <a:off x="154996" y="1045230"/>
          <a:ext cx="2450083" cy="980033"/>
        </a:xfrm>
        <a:prstGeom prst="chevr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Carry out an exercise of historical expenditure by region, depending on risk, prevalence of emergencies, etc.</a:t>
          </a:r>
          <a:endParaRPr lang="es-CO" sz="1100" b="1" kern="1200" dirty="0">
            <a:solidFill>
              <a:schemeClr val="tx1"/>
            </a:solidFill>
          </a:endParaRPr>
        </a:p>
      </dsp:txBody>
      <dsp:txXfrm>
        <a:off x="645013" y="1045230"/>
        <a:ext cx="1470050" cy="980033"/>
      </dsp:txXfrm>
    </dsp:sp>
    <dsp:sp modelId="{F720F19A-F06D-42BB-B269-E37428267AA1}">
      <dsp:nvSpPr>
        <dsp:cNvPr id="0" name=""/>
        <dsp:cNvSpPr/>
      </dsp:nvSpPr>
      <dsp:spPr>
        <a:xfrm>
          <a:off x="51171" y="2282346"/>
          <a:ext cx="2361469" cy="2274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n-US" sz="1400" kern="1200" dirty="0">
              <a:solidFill>
                <a:schemeClr val="tx1"/>
              </a:solidFill>
            </a:rPr>
            <a:t>Identification of available vehicles by regional
Structuring vehicles for emergency response in the missing regions</a:t>
          </a:r>
          <a:endParaRPr lang="es-CO" sz="1400" kern="1200" dirty="0">
            <a:solidFill>
              <a:schemeClr val="tx1"/>
            </a:solidFill>
          </a:endParaRPr>
        </a:p>
      </dsp:txBody>
      <dsp:txXfrm>
        <a:off x="51171" y="2282346"/>
        <a:ext cx="2361469" cy="2274774"/>
      </dsp:txXfrm>
    </dsp:sp>
    <dsp:sp modelId="{962A5AB4-CAA6-41DA-9607-C5895EB61247}">
      <dsp:nvSpPr>
        <dsp:cNvPr id="0" name=""/>
        <dsp:cNvSpPr/>
      </dsp:nvSpPr>
      <dsp:spPr>
        <a:xfrm>
          <a:off x="2487563" y="1025070"/>
          <a:ext cx="2450083" cy="980033"/>
        </a:xfrm>
        <a:prstGeom prst="chevr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Budgeting for a bag in the VDS to deal with emergencies (with this specific use)</a:t>
          </a:r>
          <a:endParaRPr lang="es-CO" sz="1100" b="1" kern="1200" dirty="0">
            <a:solidFill>
              <a:schemeClr val="tx1"/>
            </a:solidFill>
          </a:endParaRPr>
        </a:p>
      </dsp:txBody>
      <dsp:txXfrm>
        <a:off x="2977580" y="1025070"/>
        <a:ext cx="1470050" cy="980033"/>
      </dsp:txXfrm>
    </dsp:sp>
    <dsp:sp modelId="{C85F5CAE-8333-466A-903B-BF841D2A36EB}">
      <dsp:nvSpPr>
        <dsp:cNvPr id="0" name=""/>
        <dsp:cNvSpPr/>
      </dsp:nvSpPr>
      <dsp:spPr>
        <a:xfrm>
          <a:off x="2649759" y="2179629"/>
          <a:ext cx="2059520" cy="2043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Estimation of the model taking into account risk and changes in temperature and precipitation.</a:t>
          </a:r>
          <a:endParaRPr lang="es-C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Resources under a single, centralized VDS exchange.</a:t>
          </a:r>
          <a:endParaRPr lang="es-CO" sz="1400" kern="1200" dirty="0"/>
        </a:p>
        <a:p>
          <a:pPr marL="114300" lvl="1" indent="-114300" algn="l" defTabSz="622300">
            <a:lnSpc>
              <a:spcPct val="90000"/>
            </a:lnSpc>
            <a:spcBef>
              <a:spcPct val="0"/>
            </a:spcBef>
            <a:spcAft>
              <a:spcPct val="15000"/>
            </a:spcAft>
            <a:buFont typeface="Arial" panose="020B0604020202020204" pitchFamily="34" charset="0"/>
            <a:buChar char="•"/>
          </a:pPr>
          <a:endParaRPr lang="es-CO" sz="1400" kern="1200" dirty="0"/>
        </a:p>
      </dsp:txBody>
      <dsp:txXfrm>
        <a:off x="2649759" y="2179629"/>
        <a:ext cx="2059520" cy="2043334"/>
      </dsp:txXfrm>
    </dsp:sp>
    <dsp:sp modelId="{37ED8AAF-0045-40DF-BCD9-EAD6E52BE664}">
      <dsp:nvSpPr>
        <dsp:cNvPr id="0" name=""/>
        <dsp:cNvSpPr/>
      </dsp:nvSpPr>
      <dsp:spPr>
        <a:xfrm>
          <a:off x="4721647" y="1058903"/>
          <a:ext cx="4355244" cy="980033"/>
        </a:xfrm>
        <a:prstGeom prst="chevron">
          <a:avLst/>
        </a:prstGeom>
        <a:solidFill>
          <a:srgbClr val="92D05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In order to use the resources, an emergency must have arisen, supported by the declaration and the action plan.  There must be an explicit request for </a:t>
          </a:r>
          <a:r>
            <a:rPr lang="en-US" sz="1100" b="1" kern="1200" dirty="0" err="1">
              <a:solidFill>
                <a:schemeClr val="tx1"/>
              </a:solidFill>
            </a:rPr>
            <a:t>Ecopetrol</a:t>
          </a:r>
          <a:r>
            <a:rPr lang="en-US" sz="1100" b="1" kern="1200" dirty="0">
              <a:solidFill>
                <a:schemeClr val="tx1"/>
              </a:solidFill>
            </a:rPr>
            <a:t> to be served by the vehicles destined for this purpose previously.</a:t>
          </a:r>
          <a:endParaRPr lang="es-CO" sz="1100" b="1" kern="1200" dirty="0">
            <a:solidFill>
              <a:schemeClr val="tx1"/>
            </a:solidFill>
          </a:endParaRPr>
        </a:p>
      </dsp:txBody>
      <dsp:txXfrm>
        <a:off x="5211664" y="1058903"/>
        <a:ext cx="3375211" cy="980033"/>
      </dsp:txXfrm>
    </dsp:sp>
    <dsp:sp modelId="{4B965479-E19B-49AD-B834-D85B11AD1B7D}">
      <dsp:nvSpPr>
        <dsp:cNvPr id="0" name=""/>
        <dsp:cNvSpPr/>
      </dsp:nvSpPr>
      <dsp:spPr>
        <a:xfrm>
          <a:off x="5054523" y="2146215"/>
          <a:ext cx="3559344" cy="190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s-CO" sz="1400" kern="1200" dirty="0" err="1">
              <a:solidFill>
                <a:schemeClr val="tx1"/>
              </a:solidFill>
            </a:rPr>
            <a:t>Document</a:t>
          </a:r>
          <a:r>
            <a:rPr lang="es-CO" sz="1400" kern="1200" dirty="0">
              <a:solidFill>
                <a:schemeClr val="tx1"/>
              </a:solidFill>
            </a:rPr>
            <a:t> </a:t>
          </a:r>
          <a:r>
            <a:rPr lang="es-CO" sz="1400" kern="1200" dirty="0" err="1">
              <a:solidFill>
                <a:schemeClr val="tx1"/>
              </a:solidFill>
            </a:rPr>
            <a:t>on</a:t>
          </a:r>
          <a:r>
            <a:rPr lang="es-CO" sz="1400" kern="1200" dirty="0">
              <a:solidFill>
                <a:schemeClr val="tx1"/>
              </a:solidFill>
            </a:rPr>
            <a:t> Salesforce </a:t>
          </a:r>
          <a:r>
            <a:rPr lang="es-CO" sz="1400" kern="1200" dirty="0" err="1">
              <a:solidFill>
                <a:schemeClr val="tx1"/>
              </a:solidFill>
            </a:rPr>
            <a:t>the</a:t>
          </a:r>
          <a:r>
            <a:rPr lang="es-CO" sz="1400" kern="1200" dirty="0">
              <a:solidFill>
                <a:schemeClr val="tx1"/>
              </a:solidFill>
            </a:rPr>
            <a:t> Project </a:t>
          </a:r>
          <a:r>
            <a:rPr lang="es-CO" sz="1400" kern="1200" dirty="0" err="1">
              <a:solidFill>
                <a:schemeClr val="tx1"/>
              </a:solidFill>
            </a:rPr>
            <a:t>to</a:t>
          </a:r>
          <a:r>
            <a:rPr lang="es-CO" sz="1400" kern="1200" dirty="0">
              <a:solidFill>
                <a:schemeClr val="tx1"/>
              </a:solidFill>
            </a:rPr>
            <a:t> </a:t>
          </a:r>
          <a:r>
            <a:rPr lang="es-CO" sz="1400" kern="1200" dirty="0" err="1">
              <a:solidFill>
                <a:schemeClr val="tx1"/>
              </a:solidFill>
            </a:rPr>
            <a:t>attend</a:t>
          </a:r>
          <a:r>
            <a:rPr lang="es-CO" sz="1400" kern="1200" dirty="0">
              <a:solidFill>
                <a:schemeClr val="tx1"/>
              </a:solidFill>
            </a:rPr>
            <a:t> </a:t>
          </a:r>
          <a:r>
            <a:rPr lang="es-CO" sz="1400" kern="1200" dirty="0" err="1">
              <a:solidFill>
                <a:schemeClr val="tx1"/>
              </a:solidFill>
            </a:rPr>
            <a:t>the</a:t>
          </a:r>
          <a:r>
            <a:rPr lang="es-CO" sz="1400" kern="1200" dirty="0">
              <a:solidFill>
                <a:schemeClr val="tx1"/>
              </a:solidFill>
            </a:rPr>
            <a:t> </a:t>
          </a:r>
          <a:r>
            <a:rPr lang="es-CO" sz="1400" kern="1200" dirty="0" err="1">
              <a:solidFill>
                <a:schemeClr val="tx1"/>
              </a:solidFill>
            </a:rPr>
            <a:t>emergency</a:t>
          </a:r>
          <a:r>
            <a:rPr lang="es-CO" sz="1400" kern="1200" dirty="0">
              <a:solidFill>
                <a:schemeClr val="tx1"/>
              </a:solidFill>
            </a:rPr>
            <a:t>.</a:t>
          </a:r>
        </a:p>
      </dsp:txBody>
      <dsp:txXfrm>
        <a:off x="5054523" y="2146215"/>
        <a:ext cx="3559344" cy="1908000"/>
      </dsp:txXfrm>
    </dsp:sp>
    <dsp:sp modelId="{7E1FEC30-898C-473C-BEE6-B5591FF3D6CF}">
      <dsp:nvSpPr>
        <dsp:cNvPr id="0" name=""/>
        <dsp:cNvSpPr/>
      </dsp:nvSpPr>
      <dsp:spPr>
        <a:xfrm>
          <a:off x="8860891" y="1058903"/>
          <a:ext cx="2450083" cy="980033"/>
        </a:xfrm>
        <a:prstGeom prst="chevron">
          <a:avLst/>
        </a:prstGeom>
        <a:solidFill>
          <a:srgbClr val="92D05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s-CO" sz="1100" b="1" kern="1200" dirty="0">
              <a:solidFill>
                <a:schemeClr val="tx1"/>
              </a:solidFill>
              <a:latin typeface="Arial"/>
              <a:ea typeface="+mn-ea"/>
              <a:cs typeface="+mn-cs"/>
            </a:rPr>
            <a:t>Response &amp; </a:t>
          </a:r>
          <a:r>
            <a:rPr lang="es-CO" sz="1100" b="1" kern="1200" dirty="0" err="1">
              <a:solidFill>
                <a:schemeClr val="tx1"/>
              </a:solidFill>
              <a:latin typeface="Arial"/>
              <a:ea typeface="+mn-ea"/>
              <a:cs typeface="+mn-cs"/>
            </a:rPr>
            <a:t>Closing</a:t>
          </a:r>
          <a:endParaRPr lang="es-CO" sz="1100" b="1" kern="1200" dirty="0">
            <a:solidFill>
              <a:schemeClr val="tx1"/>
            </a:solidFill>
            <a:latin typeface="Arial"/>
            <a:ea typeface="+mn-ea"/>
            <a:cs typeface="+mn-cs"/>
          </a:endParaRPr>
        </a:p>
      </dsp:txBody>
      <dsp:txXfrm>
        <a:off x="9350908" y="1058903"/>
        <a:ext cx="1470050" cy="9800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5E39C-4B18-4609-B1CF-ECC7EF7EF27A}">
      <dsp:nvSpPr>
        <dsp:cNvPr id="0" name=""/>
        <dsp:cNvSpPr/>
      </dsp:nvSpPr>
      <dsp:spPr>
        <a:xfrm>
          <a:off x="0" y="12139"/>
          <a:ext cx="10324705" cy="648000"/>
        </a:xfrm>
        <a:prstGeom prst="chevron">
          <a:avLst/>
        </a:prstGeom>
        <a:solidFill>
          <a:srgbClr val="92D050"/>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rry out an exercise of historical expenditure by region, depending on risk and prevalence of emergencies.</a:t>
          </a:r>
          <a:endParaRPr lang="es-CO" sz="1200" kern="1200" dirty="0"/>
        </a:p>
      </dsp:txBody>
      <dsp:txXfrm>
        <a:off x="324000" y="12139"/>
        <a:ext cx="9676705" cy="648000"/>
      </dsp:txXfrm>
    </dsp:sp>
    <dsp:sp modelId="{F720F19A-F06D-42BB-B269-E37428267AA1}">
      <dsp:nvSpPr>
        <dsp:cNvPr id="0" name=""/>
        <dsp:cNvSpPr/>
      </dsp:nvSpPr>
      <dsp:spPr>
        <a:xfrm>
          <a:off x="0" y="741139"/>
          <a:ext cx="8259764" cy="344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t>Identification of available contract by regions
Structuring contracts for emergency response in the missing regions</a:t>
          </a:r>
          <a:endParaRPr lang="es-CO" sz="1200" kern="1200" dirty="0"/>
        </a:p>
      </dsp:txBody>
      <dsp:txXfrm>
        <a:off x="0" y="741139"/>
        <a:ext cx="8259764" cy="3442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5E39C-4B18-4609-B1CF-ECC7EF7EF27A}">
      <dsp:nvSpPr>
        <dsp:cNvPr id="0" name=""/>
        <dsp:cNvSpPr/>
      </dsp:nvSpPr>
      <dsp:spPr>
        <a:xfrm>
          <a:off x="0" y="12139"/>
          <a:ext cx="10324705" cy="648000"/>
        </a:xfrm>
        <a:prstGeom prst="chevron">
          <a:avLst/>
        </a:prstGeom>
        <a:solidFill>
          <a:srgbClr val="92D050"/>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rry out an exercise of historical expenditure by region, depending on risk and prevalence of emergencies.</a:t>
          </a:r>
          <a:endParaRPr lang="es-CO" sz="1200" kern="1200" dirty="0"/>
        </a:p>
      </dsp:txBody>
      <dsp:txXfrm>
        <a:off x="324000" y="12139"/>
        <a:ext cx="9676705" cy="648000"/>
      </dsp:txXfrm>
    </dsp:sp>
    <dsp:sp modelId="{F720F19A-F06D-42BB-B269-E37428267AA1}">
      <dsp:nvSpPr>
        <dsp:cNvPr id="0" name=""/>
        <dsp:cNvSpPr/>
      </dsp:nvSpPr>
      <dsp:spPr>
        <a:xfrm>
          <a:off x="0" y="741139"/>
          <a:ext cx="8259764" cy="344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t>Identification of available contract by regions
Structuring contracts for emergency response in the missing regions</a:t>
          </a:r>
          <a:endParaRPr lang="es-CO" sz="1200" kern="1200" dirty="0"/>
        </a:p>
      </dsp:txBody>
      <dsp:txXfrm>
        <a:off x="0" y="741139"/>
        <a:ext cx="8259764" cy="3442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5E39C-4B18-4609-B1CF-ECC7EF7EF27A}">
      <dsp:nvSpPr>
        <dsp:cNvPr id="0" name=""/>
        <dsp:cNvSpPr/>
      </dsp:nvSpPr>
      <dsp:spPr>
        <a:xfrm>
          <a:off x="0" y="41702"/>
          <a:ext cx="5538433" cy="756000"/>
        </a:xfrm>
        <a:prstGeom prst="chevron">
          <a:avLst/>
        </a:prstGeom>
        <a:solidFill>
          <a:srgbClr val="92D050"/>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Carry out an exercise of historical expenditure by region, depending on risk, prevalence of emergencies, etc.</a:t>
          </a:r>
          <a:endParaRPr lang="es-CO" sz="1400" kern="1200" dirty="0"/>
        </a:p>
      </dsp:txBody>
      <dsp:txXfrm>
        <a:off x="378000" y="41702"/>
        <a:ext cx="4782433" cy="756000"/>
      </dsp:txXfrm>
    </dsp:sp>
    <dsp:sp modelId="{F720F19A-F06D-42BB-B269-E37428267AA1}">
      <dsp:nvSpPr>
        <dsp:cNvPr id="0" name=""/>
        <dsp:cNvSpPr/>
      </dsp:nvSpPr>
      <dsp:spPr>
        <a:xfrm>
          <a:off x="1899" y="886842"/>
          <a:ext cx="4430747" cy="58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Identification of available vehicles by regional</a:t>
          </a:r>
          <a:endParaRPr lang="es-CO" sz="1400" kern="1200" dirty="0"/>
        </a:p>
        <a:p>
          <a:pPr marL="114300" lvl="1" indent="-114300" algn="l" defTabSz="622300">
            <a:lnSpc>
              <a:spcPct val="90000"/>
            </a:lnSpc>
            <a:spcBef>
              <a:spcPct val="0"/>
            </a:spcBef>
            <a:spcAft>
              <a:spcPct val="15000"/>
            </a:spcAft>
            <a:buChar char="•"/>
          </a:pPr>
          <a:r>
            <a:rPr lang="en-US" sz="1400" kern="1200" dirty="0"/>
            <a:t>Structuring vehicles for emergency response in the missing regions</a:t>
          </a:r>
          <a:endParaRPr lang="es-CO" sz="1400" kern="1200" dirty="0"/>
        </a:p>
      </dsp:txBody>
      <dsp:txXfrm>
        <a:off x="1899" y="886842"/>
        <a:ext cx="4430747" cy="582750"/>
      </dsp:txXfrm>
    </dsp:sp>
    <dsp:sp modelId="{962A5AB4-CAA6-41DA-9607-C5895EB61247}">
      <dsp:nvSpPr>
        <dsp:cNvPr id="0" name=""/>
        <dsp:cNvSpPr/>
      </dsp:nvSpPr>
      <dsp:spPr>
        <a:xfrm>
          <a:off x="5324333" y="36341"/>
          <a:ext cx="5538433" cy="756000"/>
        </a:xfrm>
        <a:prstGeom prst="chevron">
          <a:avLst/>
        </a:prstGeom>
        <a:solidFill>
          <a:srgbClr val="92D050"/>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Budgeting for a bag in the VDS to deal with emergencies (with this specific use)</a:t>
          </a:r>
          <a:endParaRPr lang="es-CO" sz="1400" kern="1200" dirty="0"/>
        </a:p>
      </dsp:txBody>
      <dsp:txXfrm>
        <a:off x="5702333" y="36341"/>
        <a:ext cx="4782433" cy="75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E3BFB9-8016-4CBB-B35B-036A56C7AC7C}" type="datetimeFigureOut">
              <a:rPr lang="es-CO" smtClean="0"/>
              <a:t>10/03/2024</a:t>
            </a:fld>
            <a:endParaRPr lang="es-CO"/>
          </a:p>
        </p:txBody>
      </p:sp>
      <p:sp>
        <p:nvSpPr>
          <p:cNvPr id="4" name="Marcador de pie de pá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5" name="Marcador de número de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611552-B81E-40EC-A62B-94105156872B}" type="slidenum">
              <a:rPr lang="es-CO" smtClean="0"/>
              <a:t>‹Nº›</a:t>
            </a:fld>
            <a:endParaRPr lang="es-CO"/>
          </a:p>
        </p:txBody>
      </p:sp>
    </p:spTree>
    <p:extLst>
      <p:ext uri="{BB962C8B-B14F-4D97-AF65-F5344CB8AC3E}">
        <p14:creationId xmlns:p14="http://schemas.microsoft.com/office/powerpoint/2010/main" val="2059314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C5DD39-65F8-4730-9A37-C717140EC158}" type="datetimeFigureOut">
              <a:rPr lang="es-CO" smtClean="0"/>
              <a:t>10/03/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B402A2-1008-4E35-919C-886F4F5597E5}" type="slidenum">
              <a:rPr lang="es-CO" smtClean="0"/>
              <a:t>‹Nº›</a:t>
            </a:fld>
            <a:endParaRPr lang="es-CO"/>
          </a:p>
        </p:txBody>
      </p:sp>
    </p:spTree>
    <p:extLst>
      <p:ext uri="{BB962C8B-B14F-4D97-AF65-F5344CB8AC3E}">
        <p14:creationId xmlns:p14="http://schemas.microsoft.com/office/powerpoint/2010/main" val="1132090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anchor="b"/>
          <a:lstStyle>
            <a:lvl1pPr algn="l">
              <a:lnSpc>
                <a:spcPts val="5800"/>
              </a:lnSpc>
              <a:defRPr sz="6000" b="1">
                <a:solidFill>
                  <a:schemeClr val="accent1"/>
                </a:solidFill>
              </a:defRPr>
            </a:lvl1pPr>
          </a:lstStyle>
          <a:p>
            <a:r>
              <a:rPr lang="es-ES"/>
              <a:t>Haga clic para modificar el estilo de título del patrón</a:t>
            </a:r>
            <a:endParaRPr lang="es-CO"/>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Tree>
    <p:extLst>
      <p:ext uri="{BB962C8B-B14F-4D97-AF65-F5344CB8AC3E}">
        <p14:creationId xmlns:p14="http://schemas.microsoft.com/office/powerpoint/2010/main" val="2861562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5B819E71-5E9B-4DC5-A2CD-E0A9EF94A8D7}" type="datetimeFigureOut">
              <a:rPr lang="es-CO" smtClean="0"/>
              <a:t>10/03/2024</a:t>
            </a:fld>
            <a:endParaRPr lang="es-CO"/>
          </a:p>
        </p:txBody>
      </p:sp>
      <p:sp>
        <p:nvSpPr>
          <p:cNvPr id="5" name="Marcador de pie de página 4"/>
          <p:cNvSpPr>
            <a:spLocks noGrp="1"/>
          </p:cNvSpPr>
          <p:nvPr>
            <p:ph type="ftr" sz="quarter" idx="11"/>
          </p:nvPr>
        </p:nvSpPr>
        <p:spPr/>
        <p:txBody>
          <a:bodyPr/>
          <a:lstStyle/>
          <a:p>
            <a:endParaRPr lang="es-CO"/>
          </a:p>
        </p:txBody>
      </p:sp>
      <p:sp>
        <p:nvSpPr>
          <p:cNvPr id="6" name="Marcador de número de diapositiva 5"/>
          <p:cNvSpPr>
            <a:spLocks noGrp="1"/>
          </p:cNvSpPr>
          <p:nvPr>
            <p:ph type="sldNum" sz="quarter" idx="12"/>
          </p:nvPr>
        </p:nvSpPr>
        <p:spPr/>
        <p:txBody>
          <a:bodyPr/>
          <a:lstStyle/>
          <a:p>
            <a:fld id="{3B27F89F-8EBF-499E-B106-46055D339AA8}" type="slidenum">
              <a:rPr lang="es-CO" smtClean="0"/>
              <a:t>‹Nº›</a:t>
            </a:fld>
            <a:endParaRPr lang="es-CO"/>
          </a:p>
        </p:txBody>
      </p:sp>
    </p:spTree>
    <p:extLst>
      <p:ext uri="{BB962C8B-B14F-4D97-AF65-F5344CB8AC3E}">
        <p14:creationId xmlns:p14="http://schemas.microsoft.com/office/powerpoint/2010/main" val="29575782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5B819E71-5E9B-4DC5-A2CD-E0A9EF94A8D7}" type="datetimeFigureOut">
              <a:rPr lang="es-CO" smtClean="0"/>
              <a:t>10/03/2024</a:t>
            </a:fld>
            <a:endParaRPr lang="es-CO"/>
          </a:p>
        </p:txBody>
      </p:sp>
      <p:sp>
        <p:nvSpPr>
          <p:cNvPr id="5" name="Marcador de pie de página 4"/>
          <p:cNvSpPr>
            <a:spLocks noGrp="1"/>
          </p:cNvSpPr>
          <p:nvPr>
            <p:ph type="ftr" sz="quarter" idx="11"/>
          </p:nvPr>
        </p:nvSpPr>
        <p:spPr/>
        <p:txBody>
          <a:bodyPr/>
          <a:lstStyle/>
          <a:p>
            <a:endParaRPr lang="es-CO"/>
          </a:p>
        </p:txBody>
      </p:sp>
      <p:sp>
        <p:nvSpPr>
          <p:cNvPr id="6" name="Marcador de número de diapositiva 5"/>
          <p:cNvSpPr>
            <a:spLocks noGrp="1"/>
          </p:cNvSpPr>
          <p:nvPr>
            <p:ph type="sldNum" sz="quarter" idx="12"/>
          </p:nvPr>
        </p:nvSpPr>
        <p:spPr/>
        <p:txBody>
          <a:bodyPr/>
          <a:lstStyle/>
          <a:p>
            <a:fld id="{3B27F89F-8EBF-499E-B106-46055D339AA8}" type="slidenum">
              <a:rPr lang="es-CO" smtClean="0"/>
              <a:t>‹Nº›</a:t>
            </a:fld>
            <a:endParaRPr lang="es-CO"/>
          </a:p>
        </p:txBody>
      </p:sp>
    </p:spTree>
    <p:extLst>
      <p:ext uri="{BB962C8B-B14F-4D97-AF65-F5344CB8AC3E}">
        <p14:creationId xmlns:p14="http://schemas.microsoft.com/office/powerpoint/2010/main" val="911927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userDrawn="1"/>
        </p:nvSpPr>
        <p:spPr>
          <a:xfrm>
            <a:off x="552246" y="332249"/>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5" name="Imagen 4" descr="Diagrama, Texto&#10;&#10;Descripción generada automáticamente">
            <a:extLst>
              <a:ext uri="{FF2B5EF4-FFF2-40B4-BE49-F238E27FC236}">
                <a16:creationId xmlns:a16="http://schemas.microsoft.com/office/drawing/2014/main" id="{119654A9-EB07-5740-89CB-8815CE0D71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36199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anchor="b"/>
          <a:lstStyle>
            <a:lvl1pPr algn="l">
              <a:lnSpc>
                <a:spcPts val="5800"/>
              </a:lnSpc>
              <a:defRPr sz="6000" b="1">
                <a:solidFill>
                  <a:schemeClr val="accent1"/>
                </a:solidFill>
              </a:defRPr>
            </a:lvl1pPr>
          </a:lstStyle>
          <a:p>
            <a:r>
              <a:rPr lang="es-ES"/>
              <a:t>Haga clic para modificar el estilo de título del patrón</a:t>
            </a:r>
            <a:endParaRPr lang="es-CO"/>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Rectángulo 4"/>
          <p:cNvSpPr/>
          <p:nvPr/>
        </p:nvSpPr>
        <p:spPr>
          <a:xfrm>
            <a:off x="330200" y="304800"/>
            <a:ext cx="12573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prstClr val="white"/>
              </a:solidFill>
            </a:endParaRPr>
          </a:p>
        </p:txBody>
      </p:sp>
      <p:pic>
        <p:nvPicPr>
          <p:cNvPr id="6" name="Imagen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64600" y="5297137"/>
            <a:ext cx="2666251" cy="989364"/>
          </a:xfrm>
          <a:prstGeom prst="rect">
            <a:avLst/>
          </a:prstGeom>
        </p:spPr>
      </p:pic>
      <p:sp>
        <p:nvSpPr>
          <p:cNvPr id="8" name="Rectángulo 7"/>
          <p:cNvSpPr/>
          <p:nvPr/>
        </p:nvSpPr>
        <p:spPr>
          <a:xfrm>
            <a:off x="673100" y="901700"/>
            <a:ext cx="787400" cy="152400"/>
          </a:xfrm>
          <a:prstGeom prst="rect">
            <a:avLst/>
          </a:prstGeom>
          <a:solidFill>
            <a:srgbClr val="BCD5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prstClr val="white"/>
              </a:solidFill>
            </a:endParaRPr>
          </a:p>
        </p:txBody>
      </p:sp>
    </p:spTree>
    <p:extLst>
      <p:ext uri="{BB962C8B-B14F-4D97-AF65-F5344CB8AC3E}">
        <p14:creationId xmlns:p14="http://schemas.microsoft.com/office/powerpoint/2010/main" val="40709964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7" name="Imagen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a:normAutofit/>
          </a:bodyPr>
          <a:lstStyle>
            <a:lvl1pPr>
              <a:defRPr sz="5400" b="1">
                <a:solidFill>
                  <a:schemeClr val="accent1"/>
                </a:solidFill>
              </a:defRPr>
            </a:lvl1pPr>
          </a:lstStyle>
          <a:p>
            <a:r>
              <a:rPr lang="es-ES"/>
              <a:t>Contenido</a:t>
            </a:r>
            <a:endParaRPr lang="es-CO"/>
          </a:p>
        </p:txBody>
      </p:sp>
      <p:sp>
        <p:nvSpPr>
          <p:cNvPr id="3" name="Marcador de contenido 2"/>
          <p:cNvSpPr>
            <a:spLocks noGrp="1"/>
          </p:cNvSpPr>
          <p:nvPr>
            <p:ph idx="1"/>
          </p:nvPr>
        </p:nvSpPr>
        <p:spPr>
          <a:xfrm>
            <a:off x="5956300" y="736600"/>
            <a:ext cx="4978400" cy="5440363"/>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120988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7" name="Imagen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a:defRPr sz="1000"/>
            </a:lvl1pPr>
          </a:lstStyle>
          <a:p>
            <a:endParaRPr lang="es-CO">
              <a:solidFill>
                <a:prstClr val="black">
                  <a:tint val="75000"/>
                </a:prstClr>
              </a:solidFill>
            </a:endParaRPr>
          </a:p>
        </p:txBody>
      </p:sp>
      <p:sp>
        <p:nvSpPr>
          <p:cNvPr id="8" name="Título 1"/>
          <p:cNvSpPr>
            <a:spLocks noGrp="1"/>
          </p:cNvSpPr>
          <p:nvPr>
            <p:ph type="title"/>
          </p:nvPr>
        </p:nvSpPr>
        <p:spPr>
          <a:xfrm>
            <a:off x="838200" y="365125"/>
            <a:ext cx="10312400" cy="6381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3782812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pic>
        <p:nvPicPr>
          <p:cNvPr id="8" name="Imagen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11"/>
          </p:nvPr>
        </p:nvSpPr>
        <p:spPr>
          <a:xfrm>
            <a:off x="838200" y="6311900"/>
            <a:ext cx="10515600" cy="365125"/>
          </a:xfrm>
        </p:spPr>
        <p:txBody>
          <a:bodyPr/>
          <a:lstStyle>
            <a:lvl1pPr algn="l">
              <a:defRPr sz="1000"/>
            </a:lvl1pPr>
          </a:lstStyle>
          <a:p>
            <a:endParaRPr lang="es-CO">
              <a:solidFill>
                <a:prstClr val="black">
                  <a:tint val="75000"/>
                </a:prstClr>
              </a:solidFill>
            </a:endParaRPr>
          </a:p>
        </p:txBody>
      </p:sp>
    </p:spTree>
    <p:extLst>
      <p:ext uri="{BB962C8B-B14F-4D97-AF65-F5344CB8AC3E}">
        <p14:creationId xmlns:p14="http://schemas.microsoft.com/office/powerpoint/2010/main" val="225106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a:normAutofit/>
          </a:bodyPr>
          <a:lstStyle>
            <a:lvl1pPr>
              <a:lnSpc>
                <a:spcPts val="5200"/>
              </a:lnSpc>
              <a:defRPr sz="5400" b="1">
                <a:solidFill>
                  <a:schemeClr val="accent2"/>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019465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11" name="Imagen 1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4025"/>
            <a:ext cx="87487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507331"/>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0612" y="1507331"/>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pie de página 7"/>
          <p:cNvSpPr>
            <a:spLocks noGrp="1"/>
          </p:cNvSpPr>
          <p:nvPr>
            <p:ph type="ftr" sz="quarter" idx="11"/>
          </p:nvPr>
        </p:nvSpPr>
        <p:spPr>
          <a:xfrm>
            <a:off x="838200" y="6229350"/>
            <a:ext cx="10515600" cy="365125"/>
          </a:xfrm>
        </p:spPr>
        <p:txBody>
          <a:bodyPr/>
          <a:lstStyle>
            <a:lvl1pPr algn="l">
              <a:defRPr sz="1000"/>
            </a:lvl1pPr>
          </a:lstStyle>
          <a:p>
            <a:endParaRPr lang="es-CO">
              <a:solidFill>
                <a:prstClr val="black">
                  <a:tint val="75000"/>
                </a:prstClr>
              </a:solidFill>
            </a:endParaRPr>
          </a:p>
        </p:txBody>
      </p:sp>
    </p:spTree>
    <p:extLst>
      <p:ext uri="{BB962C8B-B14F-4D97-AF65-F5344CB8AC3E}">
        <p14:creationId xmlns:p14="http://schemas.microsoft.com/office/powerpoint/2010/main" val="28302971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ítulo y objetos">
    <p:spTree>
      <p:nvGrpSpPr>
        <p:cNvPr id="1" name=""/>
        <p:cNvGrpSpPr/>
        <p:nvPr/>
      </p:nvGrpSpPr>
      <p:grpSpPr>
        <a:xfrm>
          <a:off x="0" y="0"/>
          <a:ext cx="0" cy="0"/>
          <a:chOff x="0" y="0"/>
          <a:chExt cx="0" cy="0"/>
        </a:xfrm>
      </p:grpSpPr>
      <p:pic>
        <p:nvPicPr>
          <p:cNvPr id="7" name="Imagen 6"/>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303624" y="6009"/>
            <a:ext cx="1929808" cy="6830219"/>
          </a:xfrm>
          <a:prstGeom prst="rect">
            <a:avLst/>
          </a:prstGeom>
        </p:spPr>
      </p:pic>
      <p:sp>
        <p:nvSpPr>
          <p:cNvPr id="3" name="Marcador de contenido 2"/>
          <p:cNvSpPr>
            <a:spLocks noGrp="1"/>
          </p:cNvSpPr>
          <p:nvPr>
            <p:ph idx="1"/>
          </p:nvPr>
        </p:nvSpPr>
        <p:spPr>
          <a:xfrm>
            <a:off x="5956300" y="1785257"/>
            <a:ext cx="4978400" cy="4565877"/>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contenido 2">
            <a:extLst>
              <a:ext uri="{FF2B5EF4-FFF2-40B4-BE49-F238E27FC236}">
                <a16:creationId xmlns:a16="http://schemas.microsoft.com/office/drawing/2014/main" id="{6510D721-497F-2D4C-85A5-4C5A030A527A}"/>
              </a:ext>
            </a:extLst>
          </p:cNvPr>
          <p:cNvSpPr>
            <a:spLocks noGrp="1"/>
          </p:cNvSpPr>
          <p:nvPr>
            <p:ph idx="10"/>
          </p:nvPr>
        </p:nvSpPr>
        <p:spPr>
          <a:xfrm>
            <a:off x="622300" y="1785257"/>
            <a:ext cx="4978400" cy="4565877"/>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Título 1">
            <a:extLst>
              <a:ext uri="{FF2B5EF4-FFF2-40B4-BE49-F238E27FC236}">
                <a16:creationId xmlns:a16="http://schemas.microsoft.com/office/drawing/2014/main" id="{038AFA97-92E8-F549-8283-130032E2FDB7}"/>
              </a:ext>
            </a:extLst>
          </p:cNvPr>
          <p:cNvSpPr>
            <a:spLocks noGrp="1"/>
          </p:cNvSpPr>
          <p:nvPr>
            <p:ph type="title"/>
          </p:nvPr>
        </p:nvSpPr>
        <p:spPr>
          <a:xfrm>
            <a:off x="622300" y="506866"/>
            <a:ext cx="87487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3272055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a:normAutofit/>
          </a:bodyPr>
          <a:lstStyle>
            <a:lvl1pPr>
              <a:defRPr sz="5400" b="1">
                <a:solidFill>
                  <a:schemeClr val="accent1"/>
                </a:solidFill>
              </a:defRPr>
            </a:lvl1pPr>
          </a:lstStyle>
          <a:p>
            <a:r>
              <a:rPr lang="es-ES"/>
              <a:t>Contenido</a:t>
            </a:r>
            <a:endParaRPr lang="es-CO"/>
          </a:p>
        </p:txBody>
      </p:sp>
      <p:sp>
        <p:nvSpPr>
          <p:cNvPr id="3" name="Marcador de contenido 2"/>
          <p:cNvSpPr>
            <a:spLocks noGrp="1"/>
          </p:cNvSpPr>
          <p:nvPr>
            <p:ph idx="1"/>
          </p:nvPr>
        </p:nvSpPr>
        <p:spPr>
          <a:xfrm>
            <a:off x="5956300" y="736600"/>
            <a:ext cx="4978400" cy="5440363"/>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5189479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464165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ido con título">
    <p:spTree>
      <p:nvGrpSpPr>
        <p:cNvPr id="1" name=""/>
        <p:cNvGrpSpPr/>
        <p:nvPr/>
      </p:nvGrpSpPr>
      <p:grpSpPr>
        <a:xfrm>
          <a:off x="0" y="0"/>
          <a:ext cx="0" cy="0"/>
          <a:chOff x="0" y="0"/>
          <a:chExt cx="0" cy="0"/>
        </a:xfrm>
      </p:grpSpPr>
      <p:pic>
        <p:nvPicPr>
          <p:cNvPr id="8" name="Imagen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594"/>
            <a:ext cx="12192000" cy="6854811"/>
          </a:xfrm>
          <a:prstGeom prst="rect">
            <a:avLst/>
          </a:prstGeom>
        </p:spPr>
      </p:pic>
    </p:spTree>
    <p:extLst>
      <p:ext uri="{BB962C8B-B14F-4D97-AF65-F5344CB8AC3E}">
        <p14:creationId xmlns:p14="http://schemas.microsoft.com/office/powerpoint/2010/main" val="25418345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magen con título">
    <p:spTree>
      <p:nvGrpSpPr>
        <p:cNvPr id="1" name=""/>
        <p:cNvGrpSpPr/>
        <p:nvPr/>
      </p:nvGrpSpPr>
      <p:grpSpPr>
        <a:xfrm>
          <a:off x="0" y="0"/>
          <a:ext cx="0" cy="0"/>
          <a:chOff x="0" y="0"/>
          <a:chExt cx="0" cy="0"/>
        </a:xfrm>
      </p:grpSpPr>
      <p:sp>
        <p:nvSpPr>
          <p:cNvPr id="8" name="Título 1"/>
          <p:cNvSpPr>
            <a:spLocks noGrp="1"/>
          </p:cNvSpPr>
          <p:nvPr>
            <p:ph type="title"/>
          </p:nvPr>
        </p:nvSpPr>
        <p:spPr>
          <a:xfrm>
            <a:off x="446088" y="327025"/>
            <a:ext cx="105140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3119664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93276B95-5003-416E-9872-A5E4937C01DB}" type="datetimeFigureOut">
              <a:rPr lang="es-CO" smtClean="0">
                <a:solidFill>
                  <a:prstClr val="black">
                    <a:tint val="75000"/>
                  </a:prstClr>
                </a:solidFill>
              </a:rPr>
              <a:pPr/>
              <a:t>10/03/2024</a:t>
            </a:fld>
            <a:endParaRPr lang="es-CO">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2516CF2C-BC95-4217-997B-AAD72A56FF92}"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9873883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93276B95-5003-416E-9872-A5E4937C01DB}" type="datetimeFigureOut">
              <a:rPr lang="es-CO" smtClean="0">
                <a:solidFill>
                  <a:prstClr val="black">
                    <a:tint val="75000"/>
                  </a:prstClr>
                </a:solidFill>
              </a:rPr>
              <a:pPr/>
              <a:t>10/03/2024</a:t>
            </a:fld>
            <a:endParaRPr lang="es-CO">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2516CF2C-BC95-4217-997B-AAD72A56FF92}"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3574347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_Título y objetos">
  <p:cSld name="2_Título y objetos">
    <p:bg>
      <p:bgPr>
        <a:blipFill>
          <a:blip r:embed="rId2">
            <a:alphaModFix/>
          </a:blip>
          <a:stretch>
            <a:fillRect/>
          </a:stretch>
        </a:blipFill>
        <a:effectLst/>
      </p:bgPr>
    </p:bg>
    <p:spTree>
      <p:nvGrpSpPr>
        <p:cNvPr id="1" name="Shape 77888"/>
        <p:cNvGrpSpPr/>
        <p:nvPr/>
      </p:nvGrpSpPr>
      <p:grpSpPr>
        <a:xfrm>
          <a:off x="0" y="0"/>
          <a:ext cx="0" cy="0"/>
          <a:chOff x="0" y="0"/>
          <a:chExt cx="0" cy="0"/>
        </a:xfrm>
      </p:grpSpPr>
      <p:sp>
        <p:nvSpPr>
          <p:cNvPr id="77889" name="Google Shape;77889;p13"/>
          <p:cNvSpPr txBox="1">
            <a:spLocks noGrp="1"/>
          </p:cNvSpPr>
          <p:nvPr>
            <p:ph type="title"/>
          </p:nvPr>
        </p:nvSpPr>
        <p:spPr>
          <a:xfrm>
            <a:off x="520700" y="479425"/>
            <a:ext cx="102108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rgbClr val="595959"/>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s-ES"/>
              <a:t>Haga clic para modificar el estilo de título del patrón</a:t>
            </a:r>
            <a:endParaRPr/>
          </a:p>
        </p:txBody>
      </p:sp>
      <p:sp>
        <p:nvSpPr>
          <p:cNvPr id="77890" name="Google Shape;77890;p13"/>
          <p:cNvSpPr txBox="1"/>
          <p:nvPr/>
        </p:nvSpPr>
        <p:spPr>
          <a:xfrm>
            <a:off x="8318500" y="50800"/>
            <a:ext cx="3835500" cy="369300"/>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s-CO" b="1" kern="0">
                <a:solidFill>
                  <a:srgbClr val="797979"/>
                </a:solidFill>
                <a:ea typeface="Arial"/>
                <a:cs typeface="Arial"/>
                <a:sym typeface="Arial"/>
              </a:rPr>
              <a:t>Información confidencial</a:t>
            </a:r>
            <a:endParaRPr sz="1400" kern="0">
              <a:solidFill>
                <a:srgbClr val="000000"/>
              </a:solidFill>
              <a:cs typeface="Arial"/>
              <a:sym typeface="Arial"/>
            </a:endParaRPr>
          </a:p>
        </p:txBody>
      </p:sp>
    </p:spTree>
    <p:extLst>
      <p:ext uri="{BB962C8B-B14F-4D97-AF65-F5344CB8AC3E}">
        <p14:creationId xmlns:p14="http://schemas.microsoft.com/office/powerpoint/2010/main" val="146607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569253" y="646043"/>
            <a:ext cx="5864372" cy="3405851"/>
          </a:xfrm>
        </p:spPr>
        <p:txBody>
          <a:bodyPr anchor="b"/>
          <a:lstStyle>
            <a:lvl1pPr>
              <a:defRPr sz="6000">
                <a:solidFill>
                  <a:schemeClr val="accent5"/>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0806730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ítulo 1"/>
          <p:cNvSpPr>
            <a:spLocks noGrp="1"/>
          </p:cNvSpPr>
          <p:nvPr>
            <p:ph type="title"/>
          </p:nvPr>
        </p:nvSpPr>
        <p:spPr>
          <a:xfrm>
            <a:off x="520700" y="479425"/>
            <a:ext cx="10210800" cy="1325563"/>
          </a:xfrm>
        </p:spPr>
        <p:txBody>
          <a:bodyPr/>
          <a:lstStyle/>
          <a:p>
            <a:r>
              <a:rPr lang="es-ES"/>
              <a:t>Haga clic para modificar el estilo de título del patrón</a:t>
            </a:r>
            <a:endParaRPr lang="es-CO"/>
          </a:p>
        </p:txBody>
      </p:sp>
      <p:sp>
        <p:nvSpPr>
          <p:cNvPr id="5"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1570474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ítulo 1"/>
          <p:cNvSpPr>
            <a:spLocks noGrp="1"/>
          </p:cNvSpPr>
          <p:nvPr>
            <p:ph type="title"/>
          </p:nvPr>
        </p:nvSpPr>
        <p:spPr>
          <a:xfrm>
            <a:off x="520700" y="479425"/>
            <a:ext cx="10210800" cy="1325563"/>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4107561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5" name="Marcador de texto 3"/>
          <p:cNvSpPr>
            <a:spLocks noGrp="1"/>
          </p:cNvSpPr>
          <p:nvPr>
            <p:ph type="body" sz="half" idx="2"/>
          </p:nvPr>
        </p:nvSpPr>
        <p:spPr>
          <a:xfrm>
            <a:off x="839788" y="23622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1365716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a:defRPr sz="1000"/>
            </a:lvl1pPr>
          </a:lstStyle>
          <a:p>
            <a:endParaRPr lang="es-CO"/>
          </a:p>
        </p:txBody>
      </p:sp>
      <p:sp>
        <p:nvSpPr>
          <p:cNvPr id="8" name="Título 1"/>
          <p:cNvSpPr>
            <a:spLocks noGrp="1"/>
          </p:cNvSpPr>
          <p:nvPr>
            <p:ph type="title"/>
          </p:nvPr>
        </p:nvSpPr>
        <p:spPr>
          <a:xfrm>
            <a:off x="838200" y="365125"/>
            <a:ext cx="10312400" cy="6381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3970096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6" name="Marcador de posición de imagen 2"/>
          <p:cNvSpPr>
            <a:spLocks noGrp="1"/>
          </p:cNvSpPr>
          <p:nvPr>
            <p:ph type="pic" idx="1"/>
          </p:nvPr>
        </p:nvSpPr>
        <p:spPr>
          <a:xfrm>
            <a:off x="5435600" y="0"/>
            <a:ext cx="6756400" cy="6985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CO"/>
          </a:p>
        </p:txBody>
      </p:sp>
      <p:sp>
        <p:nvSpPr>
          <p:cNvPr id="7" name="Marcador de texto 3"/>
          <p:cNvSpPr>
            <a:spLocks noGrp="1"/>
          </p:cNvSpPr>
          <p:nvPr>
            <p:ph type="body" sz="half" idx="2"/>
          </p:nvPr>
        </p:nvSpPr>
        <p:spPr>
          <a:xfrm>
            <a:off x="839788" y="2273300"/>
            <a:ext cx="3932237" cy="4127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405606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p:nvSpPr>
        <p:spPr>
          <a:xfrm>
            <a:off x="508000" y="317500"/>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prstClr val="white"/>
              </a:solidFill>
            </a:endParaRPr>
          </a:p>
        </p:txBody>
      </p:sp>
    </p:spTree>
    <p:extLst>
      <p:ext uri="{BB962C8B-B14F-4D97-AF65-F5344CB8AC3E}">
        <p14:creationId xmlns:p14="http://schemas.microsoft.com/office/powerpoint/2010/main" val="10277952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7"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7"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53330" y="162000"/>
            <a:ext cx="11424455" cy="831600"/>
          </a:xfrm>
        </p:spPr>
        <p:txBody>
          <a:bodyPr/>
          <a:lstStyle/>
          <a:p>
            <a:r>
              <a:rPr lang="en-US"/>
              <a:t>Click to edit Master title style</a:t>
            </a:r>
          </a:p>
        </p:txBody>
      </p:sp>
      <p:sp>
        <p:nvSpPr>
          <p:cNvPr id="4" name="Text Placeholder 3"/>
          <p:cNvSpPr>
            <a:spLocks noGrp="1"/>
          </p:cNvSpPr>
          <p:nvPr>
            <p:ph type="body" sz="quarter" idx="10"/>
          </p:nvPr>
        </p:nvSpPr>
        <p:spPr>
          <a:xfrm>
            <a:off x="353330" y="1508760"/>
            <a:ext cx="11424457" cy="4274503"/>
          </a:xfrm>
        </p:spPr>
        <p:txBody>
          <a:bodyPr lIns="0" tIns="0" rIns="0" bIns="0"/>
          <a:lstStyle>
            <a:lvl1pPr>
              <a:spcBef>
                <a:spcPts val="288"/>
              </a:spcBef>
              <a:defRPr/>
            </a:lvl1pPr>
            <a:lvl2pPr marL="342891" indent="-172796">
              <a:spcBef>
                <a:spcPts val="288"/>
              </a:spcBef>
              <a:defRPr/>
            </a:lvl2pPr>
            <a:lvl3pPr marL="685783" indent="-172796">
              <a:spcBef>
                <a:spcPts val="288"/>
              </a:spcBef>
              <a:defRPr/>
            </a:lvl3pPr>
            <a:lvl4pPr marL="1031374" indent="-175496">
              <a:spcBef>
                <a:spcPts val="288"/>
              </a:spcBef>
              <a:defRPr/>
            </a:lvl4pPr>
            <a:lvl5pPr marL="1544361" indent="-172796">
              <a:spcBef>
                <a:spcPts val="288"/>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3521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5" name="Marcador de texto 3"/>
          <p:cNvSpPr>
            <a:spLocks noGrp="1"/>
          </p:cNvSpPr>
          <p:nvPr>
            <p:ph type="body" sz="half" idx="2"/>
          </p:nvPr>
        </p:nvSpPr>
        <p:spPr>
          <a:xfrm>
            <a:off x="839788" y="23622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17524092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8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ítulo 1"/>
          <p:cNvSpPr>
            <a:spLocks noGrp="1"/>
          </p:cNvSpPr>
          <p:nvPr>
            <p:ph type="title"/>
          </p:nvPr>
        </p:nvSpPr>
        <p:spPr>
          <a:xfrm>
            <a:off x="520700" y="479425"/>
            <a:ext cx="10210800" cy="1325563"/>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1992321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6253" y="293688"/>
            <a:ext cx="11239500" cy="762000"/>
          </a:xfrm>
        </p:spPr>
        <p:txBody>
          <a:bodyPr/>
          <a:lstStyle/>
          <a:p>
            <a:r>
              <a:rPr lang="en-US"/>
              <a:t>Click to edit Master title style</a:t>
            </a:r>
          </a:p>
        </p:txBody>
      </p:sp>
      <p:sp>
        <p:nvSpPr>
          <p:cNvPr id="3" name="Slide Number Placeholder 2"/>
          <p:cNvSpPr>
            <a:spLocks noGrp="1"/>
          </p:cNvSpPr>
          <p:nvPr>
            <p:ph type="sldNum" sz="quarter" idx="11"/>
          </p:nvPr>
        </p:nvSpPr>
        <p:spPr/>
        <p:txBody>
          <a:bodyPr/>
          <a:lstStyle/>
          <a:p>
            <a:fld id="{6BCEAF00-35EE-2349-AC37-D94588E1CC52}" type="slidenum">
              <a:rPr>
                <a:solidFill>
                  <a:srgbClr val="000000"/>
                </a:solidFill>
              </a:rPr>
              <a:pPr/>
              <a:t>‹Nº›</a:t>
            </a:fld>
            <a:endParaRPr>
              <a:solidFill>
                <a:srgbClr val="000000"/>
              </a:solidFill>
            </a:endParaRPr>
          </a:p>
        </p:txBody>
      </p:sp>
      <p:sp>
        <p:nvSpPr>
          <p:cNvPr id="4" name="Footer Placeholder 3"/>
          <p:cNvSpPr>
            <a:spLocks noGrp="1"/>
          </p:cNvSpPr>
          <p:nvPr>
            <p:ph type="ftr" sz="quarter" idx="12"/>
          </p:nvPr>
        </p:nvSpPr>
        <p:spPr/>
        <p:txBody>
          <a:bodyPr/>
          <a:lstStyle/>
          <a:p>
            <a:pPr algn="r"/>
            <a:r>
              <a:rPr>
                <a:solidFill>
                  <a:srgbClr val="000000"/>
                </a:solidFill>
              </a:rPr>
              <a:t>Proprietary</a:t>
            </a:r>
          </a:p>
        </p:txBody>
      </p:sp>
    </p:spTree>
    <p:extLst>
      <p:ext uri="{BB962C8B-B14F-4D97-AF65-F5344CB8AC3E}">
        <p14:creationId xmlns:p14="http://schemas.microsoft.com/office/powerpoint/2010/main" val="19296754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chemeClr val="bg1"/>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267FDA77-5F75-7B4E-9A00-843BBEEB8A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ítulo 1"/>
          <p:cNvSpPr>
            <a:spLocks noGrp="1"/>
          </p:cNvSpPr>
          <p:nvPr>
            <p:ph type="ctrTitle" hasCustomPrompt="1"/>
          </p:nvPr>
        </p:nvSpPr>
        <p:spPr>
          <a:xfrm>
            <a:off x="464618" y="5279922"/>
            <a:ext cx="11262761" cy="754391"/>
          </a:xfrm>
        </p:spPr>
        <p:txBody>
          <a:bodyPr anchor="b">
            <a:noAutofit/>
          </a:bodyPr>
          <a:lstStyle>
            <a:lvl1pPr algn="l">
              <a:defRPr sz="4000">
                <a:solidFill>
                  <a:schemeClr val="accent1"/>
                </a:solidFill>
              </a:defRPr>
            </a:lvl1pPr>
          </a:lstStyle>
          <a:p>
            <a:r>
              <a:rPr lang="es-CO"/>
              <a:t>Título de la presentación</a:t>
            </a:r>
          </a:p>
        </p:txBody>
      </p:sp>
      <p:sp>
        <p:nvSpPr>
          <p:cNvPr id="3" name="Subtítulo 2"/>
          <p:cNvSpPr>
            <a:spLocks noGrp="1"/>
          </p:cNvSpPr>
          <p:nvPr>
            <p:ph type="subTitle" idx="1"/>
          </p:nvPr>
        </p:nvSpPr>
        <p:spPr>
          <a:xfrm>
            <a:off x="464619" y="6060359"/>
            <a:ext cx="11262761" cy="517421"/>
          </a:xfrm>
        </p:spPr>
        <p:txBody>
          <a:bodyPr>
            <a:normAutofit/>
          </a:bodyPr>
          <a:lstStyle>
            <a:lvl1pPr marL="0" indent="0" algn="l">
              <a:buFont typeface="Wingdings" panose="05000000000000000000" pitchFamily="2" charset="2"/>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Tree>
    <p:extLst>
      <p:ext uri="{BB962C8B-B14F-4D97-AF65-F5344CB8AC3E}">
        <p14:creationId xmlns:p14="http://schemas.microsoft.com/office/powerpoint/2010/main" val="3470099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2_Diapositiva de título">
    <p:bg>
      <p:bgPr>
        <a:solidFill>
          <a:schemeClr val="bg1"/>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267FDA77-5F75-7B4E-9A00-843BBEEB8A8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ítulo 1"/>
          <p:cNvSpPr>
            <a:spLocks noGrp="1"/>
          </p:cNvSpPr>
          <p:nvPr>
            <p:ph type="ctrTitle" hasCustomPrompt="1"/>
          </p:nvPr>
        </p:nvSpPr>
        <p:spPr>
          <a:xfrm>
            <a:off x="464618" y="5279922"/>
            <a:ext cx="11262761" cy="754391"/>
          </a:xfrm>
        </p:spPr>
        <p:txBody>
          <a:bodyPr anchor="b">
            <a:noAutofit/>
          </a:bodyPr>
          <a:lstStyle>
            <a:lvl1pPr algn="l">
              <a:defRPr sz="4000">
                <a:solidFill>
                  <a:srgbClr val="98A503"/>
                </a:solidFill>
              </a:defRPr>
            </a:lvl1pPr>
          </a:lstStyle>
          <a:p>
            <a:r>
              <a:rPr lang="es-CO"/>
              <a:t>Título de la presentación</a:t>
            </a:r>
          </a:p>
        </p:txBody>
      </p:sp>
      <p:sp>
        <p:nvSpPr>
          <p:cNvPr id="3" name="Subtítulo 2"/>
          <p:cNvSpPr>
            <a:spLocks noGrp="1"/>
          </p:cNvSpPr>
          <p:nvPr>
            <p:ph type="subTitle" idx="1"/>
          </p:nvPr>
        </p:nvSpPr>
        <p:spPr>
          <a:xfrm>
            <a:off x="464619" y="6060359"/>
            <a:ext cx="11262761" cy="517421"/>
          </a:xfrm>
        </p:spPr>
        <p:txBody>
          <a:bodyPr>
            <a:normAutofit/>
          </a:bodyPr>
          <a:lstStyle>
            <a:lvl1pPr marL="0" indent="0" algn="l">
              <a:buFont typeface="Wingdings" panose="05000000000000000000" pitchFamily="2" charset="2"/>
              <a:buNone/>
              <a:defRPr sz="2000">
                <a:solidFill>
                  <a:srgbClr val="1D433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Tree>
    <p:extLst>
      <p:ext uri="{BB962C8B-B14F-4D97-AF65-F5344CB8AC3E}">
        <p14:creationId xmlns:p14="http://schemas.microsoft.com/office/powerpoint/2010/main" val="225727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Imagen 5" descr="Patrón de fondo&#10;&#10;Descripción generada automáticamente con confianza baja">
            <a:extLst>
              <a:ext uri="{FF2B5EF4-FFF2-40B4-BE49-F238E27FC236}">
                <a16:creationId xmlns:a16="http://schemas.microsoft.com/office/drawing/2014/main" id="{8F133EED-D175-F84D-A9CE-CF916D89A1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ctrTitle" hasCustomPrompt="1"/>
          </p:nvPr>
        </p:nvSpPr>
        <p:spPr>
          <a:xfrm>
            <a:off x="905023" y="841009"/>
            <a:ext cx="5608320" cy="2387600"/>
          </a:xfrm>
        </p:spPr>
        <p:txBody>
          <a:bodyPr anchor="b">
            <a:noAutofit/>
          </a:bodyPr>
          <a:lstStyle>
            <a:lvl1pPr algn="l">
              <a:defRPr sz="6600">
                <a:solidFill>
                  <a:srgbClr val="BCD72E"/>
                </a:solidFill>
              </a:defRPr>
            </a:lvl1pPr>
          </a:lstStyle>
          <a:p>
            <a:r>
              <a:rPr lang="es-CO"/>
              <a:t>Contenido</a:t>
            </a:r>
          </a:p>
        </p:txBody>
      </p:sp>
      <p:sp>
        <p:nvSpPr>
          <p:cNvPr id="3" name="Subtítulo 2"/>
          <p:cNvSpPr>
            <a:spLocks noGrp="1"/>
          </p:cNvSpPr>
          <p:nvPr>
            <p:ph type="subTitle" idx="1"/>
          </p:nvPr>
        </p:nvSpPr>
        <p:spPr>
          <a:xfrm>
            <a:off x="6907237" y="841008"/>
            <a:ext cx="3999914" cy="5447249"/>
          </a:xfrm>
        </p:spPr>
        <p:txBody>
          <a:bodyPr/>
          <a:lstStyle>
            <a:lvl1pPr marL="342900" indent="-342900" algn="l">
              <a:buFont typeface="Wingdings" panose="05000000000000000000" pitchFamily="2" charset="2"/>
              <a:buChar char="§"/>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Rectángulo 4"/>
          <p:cNvSpPr/>
          <p:nvPr userDrawn="1"/>
        </p:nvSpPr>
        <p:spPr>
          <a:xfrm>
            <a:off x="905023" y="1384300"/>
            <a:ext cx="787400" cy="152400"/>
          </a:xfrm>
          <a:prstGeom prst="rect">
            <a:avLst/>
          </a:prstGeom>
          <a:solidFill>
            <a:srgbClr val="C0D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14005531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4" name="Imagen 3" descr="Patrón de fondo&#10;&#10;Descripción generada automáticamente con confianza baja">
            <a:extLst>
              <a:ext uri="{FF2B5EF4-FFF2-40B4-BE49-F238E27FC236}">
                <a16:creationId xmlns:a16="http://schemas.microsoft.com/office/drawing/2014/main" id="{606A5628-9C54-994A-9B5A-6BD4B048A0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46377" y="617211"/>
            <a:ext cx="10210800" cy="1325563"/>
          </a:xfrm>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46377" y="2233285"/>
            <a:ext cx="10744200" cy="4081463"/>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289311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11"/>
          </p:nvPr>
        </p:nvSpPr>
        <p:spPr>
          <a:xfrm>
            <a:off x="838200" y="6311900"/>
            <a:ext cx="10515600" cy="365125"/>
          </a:xfrm>
        </p:spPr>
        <p:txBody>
          <a:bodyPr/>
          <a:lstStyle>
            <a:lvl1pPr algn="l">
              <a:defRPr sz="1000"/>
            </a:lvl1pPr>
          </a:lstStyle>
          <a:p>
            <a:endParaRPr lang="es-CO"/>
          </a:p>
        </p:txBody>
      </p:sp>
    </p:spTree>
    <p:extLst>
      <p:ext uri="{BB962C8B-B14F-4D97-AF65-F5344CB8AC3E}">
        <p14:creationId xmlns:p14="http://schemas.microsoft.com/office/powerpoint/2010/main" val="2653481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descr="Patrón de fondo&#10;&#10;Descripción generada automáticamente con confianza baja">
            <a:extLst>
              <a:ext uri="{FF2B5EF4-FFF2-40B4-BE49-F238E27FC236}">
                <a16:creationId xmlns:a16="http://schemas.microsoft.com/office/drawing/2014/main" id="{E4D96E5C-B2E4-1A4C-BA1A-BC1E587E59B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1026453" y="2060267"/>
            <a:ext cx="7704592" cy="2737465"/>
          </a:xfrm>
        </p:spPr>
        <p:txBody>
          <a:bodyPr anchor="b"/>
          <a:lstStyle>
            <a:lvl1pPr>
              <a:defRPr sz="6000">
                <a:solidFill>
                  <a:schemeClr val="accent5"/>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8517437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pic>
        <p:nvPicPr>
          <p:cNvPr id="6" name="Imagen 5" descr="Patrón de fondo&#10;&#10;Descripción generada automáticamente con confianza baja">
            <a:extLst>
              <a:ext uri="{FF2B5EF4-FFF2-40B4-BE49-F238E27FC236}">
                <a16:creationId xmlns:a16="http://schemas.microsoft.com/office/drawing/2014/main" id="{678EBC09-6E14-4946-AEA1-7DB93E2CDA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500062"/>
            <a:ext cx="10515600" cy="1325563"/>
          </a:xfrm>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8357605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7" name="Imagen 6" descr="Patrón de fondo&#10;&#10;Descripción generada automáticamente con confianza baja">
            <a:extLst>
              <a:ext uri="{FF2B5EF4-FFF2-40B4-BE49-F238E27FC236}">
                <a16:creationId xmlns:a16="http://schemas.microsoft.com/office/drawing/2014/main" id="{01D611F4-06E1-9F45-9026-E8CA06F79F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12312630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pic>
        <p:nvPicPr>
          <p:cNvPr id="3" name="Imagen 2" descr="Patrón de fondo&#10;&#10;Descripción generada automáticamente con confianza baja">
            <a:extLst>
              <a:ext uri="{FF2B5EF4-FFF2-40B4-BE49-F238E27FC236}">
                <a16:creationId xmlns:a16="http://schemas.microsoft.com/office/drawing/2014/main" id="{93B30178-3E6A-9143-8B48-F48149F0C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011795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olo el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3B30178-3E6A-9143-8B48-F48149F0C8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2425359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olo el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3B30178-3E6A-9143-8B48-F48149F0C8E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545947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5" name="Imagen 4" descr="Patrón de fondo&#10;&#10;Descripción generada automáticamente con confianza baja">
            <a:extLst>
              <a:ext uri="{FF2B5EF4-FFF2-40B4-BE49-F238E27FC236}">
                <a16:creationId xmlns:a16="http://schemas.microsoft.com/office/drawing/2014/main" id="{6916306E-8A32-0D4C-A46B-1E885C80E8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4" name="Marcador de texto 3"/>
          <p:cNvSpPr>
            <a:spLocks noGrp="1"/>
          </p:cNvSpPr>
          <p:nvPr>
            <p:ph type="body" sz="half" idx="2"/>
          </p:nvPr>
        </p:nvSpPr>
        <p:spPr>
          <a:xfrm>
            <a:off x="839788" y="23622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5143826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pic>
        <p:nvPicPr>
          <p:cNvPr id="5" name="Imagen 4" descr="Patrón de fondo&#10;&#10;Descripción generada automáticamente con confianza baja">
            <a:extLst>
              <a:ext uri="{FF2B5EF4-FFF2-40B4-BE49-F238E27FC236}">
                <a16:creationId xmlns:a16="http://schemas.microsoft.com/office/drawing/2014/main" id="{976C3503-AE82-7741-90C3-A2A578C96F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435600" y="0"/>
            <a:ext cx="6756400" cy="6985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CO"/>
          </a:p>
        </p:txBody>
      </p:sp>
      <p:sp>
        <p:nvSpPr>
          <p:cNvPr id="4" name="Marcador de texto 3"/>
          <p:cNvSpPr>
            <a:spLocks noGrp="1"/>
          </p:cNvSpPr>
          <p:nvPr>
            <p:ph type="body" sz="half" idx="2"/>
          </p:nvPr>
        </p:nvSpPr>
        <p:spPr>
          <a:xfrm>
            <a:off x="839788" y="2273300"/>
            <a:ext cx="3932237" cy="4127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Tree>
    <p:extLst>
      <p:ext uri="{BB962C8B-B14F-4D97-AF65-F5344CB8AC3E}">
        <p14:creationId xmlns:p14="http://schemas.microsoft.com/office/powerpoint/2010/main" val="3467840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n con título">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8BFA3EEB-4AE8-3A48-9E59-6DD9EDBABE20}"/>
              </a:ext>
            </a:extLst>
          </p:cNvPr>
          <p:cNvSpPr/>
          <p:nvPr userDrawn="1"/>
        </p:nvSpPr>
        <p:spPr>
          <a:xfrm>
            <a:off x="272716" y="208548"/>
            <a:ext cx="1572126" cy="625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8" name="Rectángulo 7">
            <a:extLst>
              <a:ext uri="{FF2B5EF4-FFF2-40B4-BE49-F238E27FC236}">
                <a16:creationId xmlns:a16="http://schemas.microsoft.com/office/drawing/2014/main" id="{FBF723CC-BD88-AF46-81BF-C48B6D145B9D}"/>
              </a:ext>
            </a:extLst>
          </p:cNvPr>
          <p:cNvSpPr/>
          <p:nvPr userDrawn="1"/>
        </p:nvSpPr>
        <p:spPr>
          <a:xfrm>
            <a:off x="1" y="0"/>
            <a:ext cx="12192000" cy="272716"/>
          </a:xfrm>
          <a:prstGeom prst="rect">
            <a:avLst/>
          </a:prstGeom>
          <a:solidFill>
            <a:srgbClr val="1D4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334275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userDrawn="1"/>
        </p:nvSpPr>
        <p:spPr>
          <a:xfrm>
            <a:off x="552246" y="332249"/>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descr="Diagrama, Texto&#10;&#10;Descripción generada automáticamente">
            <a:extLst>
              <a:ext uri="{FF2B5EF4-FFF2-40B4-BE49-F238E27FC236}">
                <a16:creationId xmlns:a16="http://schemas.microsoft.com/office/drawing/2014/main" id="{4071B713-0C7E-0D43-837C-1960A0D171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Imagen 5" descr="Imagen que contiene Texto&#10;&#10;Descripción generada automáticamente">
            <a:extLst>
              <a:ext uri="{FF2B5EF4-FFF2-40B4-BE49-F238E27FC236}">
                <a16:creationId xmlns:a16="http://schemas.microsoft.com/office/drawing/2014/main" id="{CB8A94FB-F0E7-3949-87C7-90B54323634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50760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pic>
        <p:nvPicPr>
          <p:cNvPr id="6" name="Imagen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a:normAutofit/>
          </a:bodyPr>
          <a:lstStyle>
            <a:lvl1pPr>
              <a:lnSpc>
                <a:spcPts val="5200"/>
              </a:lnSpc>
              <a:defRPr sz="5400" b="1">
                <a:solidFill>
                  <a:schemeClr val="accent2"/>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3893894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Encabezado de secció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ángulo 2"/>
          <p:cNvSpPr/>
          <p:nvPr userDrawn="1"/>
        </p:nvSpPr>
        <p:spPr>
          <a:xfrm>
            <a:off x="552246" y="332249"/>
            <a:ext cx="1104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5" name="Imagen 4" descr="Diagrama, Texto&#10;&#10;Descripción generada automáticamente">
            <a:extLst>
              <a:ext uri="{FF2B5EF4-FFF2-40B4-BE49-F238E27FC236}">
                <a16:creationId xmlns:a16="http://schemas.microsoft.com/office/drawing/2014/main" id="{119654A9-EB07-5740-89CB-8815CE0D71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237045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ctrTitle"/>
          </p:nvPr>
        </p:nvSpPr>
        <p:spPr>
          <a:xfrm>
            <a:off x="1181100" y="1819277"/>
            <a:ext cx="7543800" cy="2387600"/>
          </a:xfrm>
        </p:spPr>
        <p:txBody>
          <a:bodyPr anchor="b"/>
          <a:lstStyle>
            <a:lvl1pPr algn="l">
              <a:lnSpc>
                <a:spcPts val="5800"/>
              </a:lnSpc>
              <a:defRPr sz="6000" b="1">
                <a:solidFill>
                  <a:schemeClr val="accent1"/>
                </a:solidFill>
              </a:defRPr>
            </a:lvl1pPr>
          </a:lstStyle>
          <a:p>
            <a:r>
              <a:rPr lang="es-ES"/>
              <a:t>Haga clic para modificar el estilo de título del patrón</a:t>
            </a:r>
            <a:endParaRPr lang="es-CO"/>
          </a:p>
        </p:txBody>
      </p:sp>
      <p:sp>
        <p:nvSpPr>
          <p:cNvPr id="3" name="Subtítulo 2"/>
          <p:cNvSpPr>
            <a:spLocks noGrp="1"/>
          </p:cNvSpPr>
          <p:nvPr>
            <p:ph type="subTitle" idx="1"/>
          </p:nvPr>
        </p:nvSpPr>
        <p:spPr>
          <a:xfrm>
            <a:off x="1181100" y="4619626"/>
            <a:ext cx="5092700" cy="1655762"/>
          </a:xfrm>
        </p:spPr>
        <p:txBody>
          <a:bodyPr>
            <a:normAutofit/>
          </a:bodyPr>
          <a:lstStyle>
            <a:lvl1pPr marL="0" indent="0" algn="l">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Tree>
    <p:extLst>
      <p:ext uri="{BB962C8B-B14F-4D97-AF65-F5344CB8AC3E}">
        <p14:creationId xmlns:p14="http://schemas.microsoft.com/office/powerpoint/2010/main" val="13377640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hasCustomPrompt="1"/>
          </p:nvPr>
        </p:nvSpPr>
        <p:spPr>
          <a:xfrm>
            <a:off x="825500" y="2219325"/>
            <a:ext cx="4178300" cy="866775"/>
          </a:xfrm>
        </p:spPr>
        <p:txBody>
          <a:bodyPr>
            <a:normAutofit/>
          </a:bodyPr>
          <a:lstStyle>
            <a:lvl1pPr>
              <a:defRPr sz="5400" b="1">
                <a:solidFill>
                  <a:schemeClr val="accent1"/>
                </a:solidFill>
              </a:defRPr>
            </a:lvl1pPr>
          </a:lstStyle>
          <a:p>
            <a:r>
              <a:rPr lang="es-ES"/>
              <a:t>Contenido</a:t>
            </a:r>
            <a:endParaRPr lang="es-CO"/>
          </a:p>
        </p:txBody>
      </p:sp>
      <p:sp>
        <p:nvSpPr>
          <p:cNvPr id="3" name="Marcador de contenido 2"/>
          <p:cNvSpPr>
            <a:spLocks noGrp="1"/>
          </p:cNvSpPr>
          <p:nvPr>
            <p:ph idx="1"/>
          </p:nvPr>
        </p:nvSpPr>
        <p:spPr>
          <a:xfrm>
            <a:off x="5956300" y="736600"/>
            <a:ext cx="4978400" cy="5440363"/>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249585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3" name="Marcador de texto 2"/>
          <p:cNvSpPr>
            <a:spLocks noGrp="1"/>
          </p:cNvSpPr>
          <p:nvPr>
            <p:ph type="body" idx="1"/>
          </p:nvPr>
        </p:nvSpPr>
        <p:spPr>
          <a:xfrm>
            <a:off x="838200" y="1368425"/>
            <a:ext cx="10515600" cy="4283075"/>
          </a:xfr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5" name="Marcador de pie de página 4"/>
          <p:cNvSpPr>
            <a:spLocks noGrp="1"/>
          </p:cNvSpPr>
          <p:nvPr>
            <p:ph type="ftr" sz="quarter" idx="11"/>
          </p:nvPr>
        </p:nvSpPr>
        <p:spPr>
          <a:xfrm>
            <a:off x="838200" y="5915024"/>
            <a:ext cx="10515600" cy="365125"/>
          </a:xfrm>
        </p:spPr>
        <p:txBody>
          <a:bodyPr/>
          <a:lstStyle>
            <a:lvl1pPr algn="l">
              <a:defRPr sz="1000"/>
            </a:lvl1pPr>
          </a:lstStyle>
          <a:p>
            <a:endParaRPr lang="es-CO"/>
          </a:p>
        </p:txBody>
      </p:sp>
      <p:sp>
        <p:nvSpPr>
          <p:cNvPr id="8" name="Título 1"/>
          <p:cNvSpPr>
            <a:spLocks noGrp="1"/>
          </p:cNvSpPr>
          <p:nvPr>
            <p:ph type="title"/>
          </p:nvPr>
        </p:nvSpPr>
        <p:spPr>
          <a:xfrm>
            <a:off x="838200" y="365125"/>
            <a:ext cx="10312400" cy="6381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34817140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pic>
        <p:nvPicPr>
          <p:cNvPr id="8" name="Imagen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8200" y="365125"/>
            <a:ext cx="10515600" cy="727075"/>
          </a:xfrm>
        </p:spPr>
        <p:txBody>
          <a:bodyPr>
            <a:normAutofit/>
          </a:bodyPr>
          <a:lstStyle>
            <a:lvl1pPr>
              <a:defRPr sz="3200" b="1">
                <a:solidFill>
                  <a:schemeClr val="bg2">
                    <a:lumMod val="50000"/>
                  </a:schemeClr>
                </a:solidFill>
              </a:defRPr>
            </a:lvl1p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526381"/>
            <a:ext cx="5181600" cy="435133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11"/>
          </p:nvPr>
        </p:nvSpPr>
        <p:spPr>
          <a:xfrm>
            <a:off x="838200" y="6311900"/>
            <a:ext cx="10515600" cy="365125"/>
          </a:xfrm>
        </p:spPr>
        <p:txBody>
          <a:bodyPr/>
          <a:lstStyle>
            <a:lvl1pPr algn="l">
              <a:defRPr sz="1000"/>
            </a:lvl1pPr>
          </a:lstStyle>
          <a:p>
            <a:endParaRPr lang="es-CO"/>
          </a:p>
        </p:txBody>
      </p:sp>
    </p:spTree>
    <p:extLst>
      <p:ext uri="{BB962C8B-B14F-4D97-AF65-F5344CB8AC3E}">
        <p14:creationId xmlns:p14="http://schemas.microsoft.com/office/powerpoint/2010/main" val="16181908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pic>
        <p:nvPicPr>
          <p:cNvPr id="6" name="Imagen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965200" y="847725"/>
            <a:ext cx="5499100" cy="3787775"/>
          </a:xfrm>
        </p:spPr>
        <p:txBody>
          <a:bodyPr>
            <a:normAutofit/>
          </a:bodyPr>
          <a:lstStyle>
            <a:lvl1pPr>
              <a:lnSpc>
                <a:spcPts val="5200"/>
              </a:lnSpc>
              <a:defRPr sz="5400" b="1">
                <a:solidFill>
                  <a:schemeClr val="accent2"/>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14421741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11" name="Imagen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4025"/>
            <a:ext cx="87487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507331"/>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0612" y="1507331"/>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pie de página 7"/>
          <p:cNvSpPr>
            <a:spLocks noGrp="1"/>
          </p:cNvSpPr>
          <p:nvPr>
            <p:ph type="ftr" sz="quarter" idx="11"/>
          </p:nvPr>
        </p:nvSpPr>
        <p:spPr>
          <a:xfrm>
            <a:off x="838200" y="6229350"/>
            <a:ext cx="10515600" cy="365125"/>
          </a:xfrm>
        </p:spPr>
        <p:txBody>
          <a:bodyPr/>
          <a:lstStyle>
            <a:lvl1pPr algn="l">
              <a:defRPr sz="1000"/>
            </a:lvl1pPr>
          </a:lstStyle>
          <a:p>
            <a:endParaRPr lang="es-CO"/>
          </a:p>
        </p:txBody>
      </p:sp>
    </p:spTree>
    <p:extLst>
      <p:ext uri="{BB962C8B-B14F-4D97-AF65-F5344CB8AC3E}">
        <p14:creationId xmlns:p14="http://schemas.microsoft.com/office/powerpoint/2010/main" val="10637649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ítulo y objetos">
    <p:spTree>
      <p:nvGrpSpPr>
        <p:cNvPr id="1" name=""/>
        <p:cNvGrpSpPr/>
        <p:nvPr/>
      </p:nvGrpSpPr>
      <p:grpSpPr>
        <a:xfrm>
          <a:off x="0" y="0"/>
          <a:ext cx="0" cy="0"/>
          <a:chOff x="0" y="0"/>
          <a:chExt cx="0" cy="0"/>
        </a:xfrm>
      </p:grpSpPr>
      <p:pic>
        <p:nvPicPr>
          <p:cNvPr id="7" name="Imagen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03624" y="6009"/>
            <a:ext cx="1929808" cy="6830219"/>
          </a:xfrm>
          <a:prstGeom prst="rect">
            <a:avLst/>
          </a:prstGeom>
        </p:spPr>
      </p:pic>
      <p:sp>
        <p:nvSpPr>
          <p:cNvPr id="3" name="Marcador de contenido 2"/>
          <p:cNvSpPr>
            <a:spLocks noGrp="1"/>
          </p:cNvSpPr>
          <p:nvPr>
            <p:ph idx="1"/>
          </p:nvPr>
        </p:nvSpPr>
        <p:spPr>
          <a:xfrm>
            <a:off x="5956300" y="1785257"/>
            <a:ext cx="4978400" cy="4565877"/>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contenido 2">
            <a:extLst>
              <a:ext uri="{FF2B5EF4-FFF2-40B4-BE49-F238E27FC236}">
                <a16:creationId xmlns:a16="http://schemas.microsoft.com/office/drawing/2014/main" id="{6510D721-497F-2D4C-85A5-4C5A030A527A}"/>
              </a:ext>
            </a:extLst>
          </p:cNvPr>
          <p:cNvSpPr>
            <a:spLocks noGrp="1"/>
          </p:cNvSpPr>
          <p:nvPr>
            <p:ph idx="10"/>
          </p:nvPr>
        </p:nvSpPr>
        <p:spPr>
          <a:xfrm>
            <a:off x="622300" y="1785257"/>
            <a:ext cx="4978400" cy="4565877"/>
          </a:xfrm>
        </p:spPr>
        <p:txBody>
          <a:bodyPr/>
          <a:lstStyle>
            <a:lvl1pPr>
              <a:lnSpc>
                <a:spcPts val="2800"/>
              </a:lnSpc>
              <a:defRPr>
                <a:solidFill>
                  <a:schemeClr val="accent2"/>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Título 1">
            <a:extLst>
              <a:ext uri="{FF2B5EF4-FFF2-40B4-BE49-F238E27FC236}">
                <a16:creationId xmlns:a16="http://schemas.microsoft.com/office/drawing/2014/main" id="{038AFA97-92E8-F549-8283-130032E2FDB7}"/>
              </a:ext>
            </a:extLst>
          </p:cNvPr>
          <p:cNvSpPr>
            <a:spLocks noGrp="1"/>
          </p:cNvSpPr>
          <p:nvPr>
            <p:ph type="title"/>
          </p:nvPr>
        </p:nvSpPr>
        <p:spPr>
          <a:xfrm>
            <a:off x="622300" y="506866"/>
            <a:ext cx="87487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41585770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470518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ido con título">
    <p:spTree>
      <p:nvGrpSpPr>
        <p:cNvPr id="1" name=""/>
        <p:cNvGrpSpPr/>
        <p:nvPr/>
      </p:nvGrpSpPr>
      <p:grpSpPr>
        <a:xfrm>
          <a:off x="0" y="0"/>
          <a:ext cx="0" cy="0"/>
          <a:chOff x="0" y="0"/>
          <a:chExt cx="0" cy="0"/>
        </a:xfrm>
      </p:grpSpPr>
      <p:pic>
        <p:nvPicPr>
          <p:cNvPr id="8" name="Imagen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594"/>
            <a:ext cx="12192000" cy="6854811"/>
          </a:xfrm>
          <a:prstGeom prst="rect">
            <a:avLst/>
          </a:prstGeom>
        </p:spPr>
      </p:pic>
    </p:spTree>
    <p:extLst>
      <p:ext uri="{BB962C8B-B14F-4D97-AF65-F5344CB8AC3E}">
        <p14:creationId xmlns:p14="http://schemas.microsoft.com/office/powerpoint/2010/main" val="511224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ítulo 1"/>
          <p:cNvSpPr>
            <a:spLocks noGrp="1"/>
          </p:cNvSpPr>
          <p:nvPr>
            <p:ph type="title"/>
          </p:nvPr>
        </p:nvSpPr>
        <p:spPr>
          <a:xfrm>
            <a:off x="839788" y="454025"/>
            <a:ext cx="87487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507331"/>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8200" y="2454275"/>
            <a:ext cx="5157787"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0612" y="1507331"/>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0612" y="2454275"/>
            <a:ext cx="5183188" cy="3684588"/>
          </a:xfrm>
        </p:spPr>
        <p:txBody>
          <a:bodyPr>
            <a:normAutofit/>
          </a:bodyPr>
          <a:lstStyle>
            <a:lvl1pPr>
              <a:defRPr sz="2000">
                <a:solidFill>
                  <a:schemeClr val="bg2">
                    <a:lumMod val="50000"/>
                  </a:schemeClr>
                </a:solidFill>
              </a:defRPr>
            </a:lvl1pPr>
            <a:lvl2pPr>
              <a:defRPr sz="2000">
                <a:solidFill>
                  <a:schemeClr val="bg2">
                    <a:lumMod val="50000"/>
                  </a:schemeClr>
                </a:solidFill>
              </a:defRPr>
            </a:lvl2pPr>
            <a:lvl3pPr>
              <a:defRPr sz="2000">
                <a:solidFill>
                  <a:schemeClr val="bg2">
                    <a:lumMod val="50000"/>
                  </a:schemeClr>
                </a:solidFill>
              </a:defRPr>
            </a:lvl3pPr>
            <a:lvl4pPr>
              <a:defRPr sz="2000">
                <a:solidFill>
                  <a:schemeClr val="bg2">
                    <a:lumMod val="50000"/>
                  </a:schemeClr>
                </a:solidFill>
              </a:defRPr>
            </a:lvl4pPr>
            <a:lvl5pPr>
              <a:defRPr sz="2000">
                <a:solidFill>
                  <a:schemeClr val="bg2">
                    <a:lumMod val="5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pie de página 7"/>
          <p:cNvSpPr>
            <a:spLocks noGrp="1"/>
          </p:cNvSpPr>
          <p:nvPr>
            <p:ph type="ftr" sz="quarter" idx="11"/>
          </p:nvPr>
        </p:nvSpPr>
        <p:spPr>
          <a:xfrm>
            <a:off x="838200" y="6229350"/>
            <a:ext cx="10515600" cy="365125"/>
          </a:xfrm>
        </p:spPr>
        <p:txBody>
          <a:bodyPr/>
          <a:lstStyle>
            <a:lvl1pPr algn="l">
              <a:defRPr sz="1000"/>
            </a:lvl1pPr>
          </a:lstStyle>
          <a:p>
            <a:endParaRPr lang="es-CO"/>
          </a:p>
        </p:txBody>
      </p:sp>
    </p:spTree>
    <p:extLst>
      <p:ext uri="{BB962C8B-B14F-4D97-AF65-F5344CB8AC3E}">
        <p14:creationId xmlns:p14="http://schemas.microsoft.com/office/powerpoint/2010/main" val="1207509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magen con título">
    <p:spTree>
      <p:nvGrpSpPr>
        <p:cNvPr id="1" name=""/>
        <p:cNvGrpSpPr/>
        <p:nvPr/>
      </p:nvGrpSpPr>
      <p:grpSpPr>
        <a:xfrm>
          <a:off x="0" y="0"/>
          <a:ext cx="0" cy="0"/>
          <a:chOff x="0" y="0"/>
          <a:chExt cx="0" cy="0"/>
        </a:xfrm>
      </p:grpSpPr>
      <p:sp>
        <p:nvSpPr>
          <p:cNvPr id="8" name="Título 1"/>
          <p:cNvSpPr>
            <a:spLocks noGrp="1"/>
          </p:cNvSpPr>
          <p:nvPr>
            <p:ph type="title"/>
          </p:nvPr>
        </p:nvSpPr>
        <p:spPr>
          <a:xfrm>
            <a:off x="446088" y="327025"/>
            <a:ext cx="105140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11543556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D2FCA9FD-F264-4B7C-B49C-7EBCF563B8E3}" type="datetimeFigureOut">
              <a:rPr lang="es-CO" smtClean="0"/>
              <a:t>10/03/2024</a:t>
            </a:fld>
            <a:endParaRPr lang="es-CO"/>
          </a:p>
        </p:txBody>
      </p:sp>
      <p:sp>
        <p:nvSpPr>
          <p:cNvPr id="5" name="Marcador de pie de página 4"/>
          <p:cNvSpPr>
            <a:spLocks noGrp="1"/>
          </p:cNvSpPr>
          <p:nvPr>
            <p:ph type="ftr" sz="quarter" idx="11"/>
          </p:nvPr>
        </p:nvSpPr>
        <p:spPr/>
        <p:txBody>
          <a:bodyPr/>
          <a:lstStyle/>
          <a:p>
            <a:endParaRPr lang="es-CO"/>
          </a:p>
        </p:txBody>
      </p:sp>
      <p:sp>
        <p:nvSpPr>
          <p:cNvPr id="6" name="Marcador de número de diapositiva 5"/>
          <p:cNvSpPr>
            <a:spLocks noGrp="1"/>
          </p:cNvSpPr>
          <p:nvPr>
            <p:ph type="sldNum" sz="quarter" idx="12"/>
          </p:nvPr>
        </p:nvSpPr>
        <p:spPr/>
        <p:txBody>
          <a:bodyPr/>
          <a:lstStyle/>
          <a:p>
            <a:fld id="{31E1C37E-D5AA-4142-BB2E-A9FA0B03D8E6}" type="slidenum">
              <a:rPr lang="es-CO" smtClean="0"/>
              <a:t>‹Nº›</a:t>
            </a:fld>
            <a:endParaRPr lang="es-CO"/>
          </a:p>
        </p:txBody>
      </p:sp>
    </p:spTree>
    <p:extLst>
      <p:ext uri="{BB962C8B-B14F-4D97-AF65-F5344CB8AC3E}">
        <p14:creationId xmlns:p14="http://schemas.microsoft.com/office/powerpoint/2010/main" val="36463262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D2FCA9FD-F264-4B7C-B49C-7EBCF563B8E3}" type="datetimeFigureOut">
              <a:rPr lang="es-CO" smtClean="0"/>
              <a:t>10/03/2024</a:t>
            </a:fld>
            <a:endParaRPr lang="es-CO"/>
          </a:p>
        </p:txBody>
      </p:sp>
      <p:sp>
        <p:nvSpPr>
          <p:cNvPr id="5" name="Marcador de pie de página 4"/>
          <p:cNvSpPr>
            <a:spLocks noGrp="1"/>
          </p:cNvSpPr>
          <p:nvPr>
            <p:ph type="ftr" sz="quarter" idx="11"/>
          </p:nvPr>
        </p:nvSpPr>
        <p:spPr/>
        <p:txBody>
          <a:bodyPr/>
          <a:lstStyle/>
          <a:p>
            <a:endParaRPr lang="es-CO"/>
          </a:p>
        </p:txBody>
      </p:sp>
      <p:sp>
        <p:nvSpPr>
          <p:cNvPr id="6" name="Marcador de número de diapositiva 5"/>
          <p:cNvSpPr>
            <a:spLocks noGrp="1"/>
          </p:cNvSpPr>
          <p:nvPr>
            <p:ph type="sldNum" sz="quarter" idx="12"/>
          </p:nvPr>
        </p:nvSpPr>
        <p:spPr/>
        <p:txBody>
          <a:bodyPr/>
          <a:lstStyle/>
          <a:p>
            <a:fld id="{31E1C37E-D5AA-4142-BB2E-A9FA0B03D8E6}" type="slidenum">
              <a:rPr lang="es-CO" smtClean="0"/>
              <a:t>‹Nº›</a:t>
            </a:fld>
            <a:endParaRPr lang="es-CO"/>
          </a:p>
        </p:txBody>
      </p:sp>
    </p:spTree>
    <p:extLst>
      <p:ext uri="{BB962C8B-B14F-4D97-AF65-F5344CB8AC3E}">
        <p14:creationId xmlns:p14="http://schemas.microsoft.com/office/powerpoint/2010/main" val="880582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5" name="Imagen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7098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pic>
        <p:nvPicPr>
          <p:cNvPr id="8" name="Imagen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49859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8" name="Título 1"/>
          <p:cNvSpPr>
            <a:spLocks noGrp="1"/>
          </p:cNvSpPr>
          <p:nvPr>
            <p:ph type="title"/>
          </p:nvPr>
        </p:nvSpPr>
        <p:spPr>
          <a:xfrm>
            <a:off x="446088" y="327025"/>
            <a:ext cx="10514012" cy="688975"/>
          </a:xfrm>
        </p:spPr>
        <p:txBody>
          <a:bodyPr>
            <a:normAutofit/>
          </a:bodyPr>
          <a:lstStyle>
            <a:lvl1pPr>
              <a:lnSpc>
                <a:spcPts val="3000"/>
              </a:lnSpc>
              <a:defRPr sz="3200" b="1">
                <a:solidFill>
                  <a:schemeClr val="bg2">
                    <a:lumMod val="50000"/>
                  </a:schemeClr>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28746083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image" Target="../media/image16.jpeg"/><Relationship Id="rId2" Type="http://schemas.openxmlformats.org/officeDocument/2006/relationships/slideLayout" Target="../slideLayouts/slideLayout37.xml"/><Relationship Id="rId16" Type="http://schemas.openxmlformats.org/officeDocument/2006/relationships/theme" Target="../theme/theme3.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6" Type="http://schemas.openxmlformats.org/officeDocument/2006/relationships/image" Target="../media/image25.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oleObject" Target="../embeddings/oleObject2.bin"/><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819E71-5E9B-4DC5-A2CD-E0A9EF94A8D7}" type="datetimeFigureOut">
              <a:rPr lang="es-CO" smtClean="0"/>
              <a:t>10/03/2024</a:t>
            </a:fld>
            <a:endParaRPr lang="es-CO"/>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7F89F-8EBF-499E-B106-46055D339AA8}" type="slidenum">
              <a:rPr lang="es-CO" smtClean="0"/>
              <a:t>‹Nº›</a:t>
            </a:fld>
            <a:endParaRPr lang="es-CO"/>
          </a:p>
        </p:txBody>
      </p:sp>
    </p:spTree>
    <p:extLst>
      <p:ext uri="{BB962C8B-B14F-4D97-AF65-F5344CB8AC3E}">
        <p14:creationId xmlns:p14="http://schemas.microsoft.com/office/powerpoint/2010/main" val="35166932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3" r:id="rId6"/>
    <p:sldLayoutId id="2147483655" r:id="rId7"/>
    <p:sldLayoutId id="2147483656" r:id="rId8"/>
    <p:sldLayoutId id="2147483657" r:id="rId9"/>
    <p:sldLayoutId id="2147483658" r:id="rId10"/>
    <p:sldLayoutId id="2147483659" r:id="rId11"/>
    <p:sldLayoutId id="214748372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276B95-5003-416E-9872-A5E4937C01DB}" type="datetimeFigureOut">
              <a:rPr lang="es-CO" smtClean="0">
                <a:solidFill>
                  <a:prstClr val="black">
                    <a:tint val="75000"/>
                  </a:prstClr>
                </a:solidFill>
              </a:rPr>
              <a:pPr/>
              <a:t>10/03/2024</a:t>
            </a:fld>
            <a:endParaRPr lang="es-CO">
              <a:solidFill>
                <a:prstClr val="black">
                  <a:tint val="75000"/>
                </a:prstClr>
              </a:solidFill>
            </a:endParaRPr>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solidFill>
                <a:prstClr val="black">
                  <a:tint val="75000"/>
                </a:prstClr>
              </a:solidFill>
            </a:endParaRPr>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16CF2C-BC95-4217-997B-AAD72A56FF92}"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89416377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520700" y="479425"/>
            <a:ext cx="102108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520700" y="2095499"/>
            <a:ext cx="10744200" cy="40814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Rectángulo 6"/>
          <p:cNvSpPr/>
          <p:nvPr userDrawn="1"/>
        </p:nvSpPr>
        <p:spPr>
          <a:xfrm>
            <a:off x="622300" y="406400"/>
            <a:ext cx="647700" cy="1016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356074349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Lst>
  <p:txStyles>
    <p:titleStyle>
      <a:lvl1pPr algn="l" defTabSz="914400" rtl="0" eaLnBrk="1" latinLnBrk="0" hangingPunct="1">
        <a:lnSpc>
          <a:spcPct val="90000"/>
        </a:lnSpc>
        <a:spcBef>
          <a:spcPct val="0"/>
        </a:spcBef>
        <a:buNone/>
        <a:defRPr sz="4000" b="1" kern="1200">
          <a:solidFill>
            <a:schemeClr val="tx1">
              <a:lumMod val="65000"/>
              <a:lumOff val="3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F41F02-AABF-953B-DD36-C30E56B5B3C2}"/>
              </a:ext>
            </a:extLst>
          </p:cNvPr>
          <p:cNvGraphicFramePr>
            <a:graphicFrameLocks noChangeAspect="1"/>
          </p:cNvGraphicFramePr>
          <p:nvPr>
            <p:custDataLst>
              <p:tags r:id="rId14"/>
            </p:custDataLst>
            <p:extLst>
              <p:ext uri="{D42A27DB-BD31-4B8C-83A1-F6EECF244321}">
                <p14:modId xmlns:p14="http://schemas.microsoft.com/office/powerpoint/2010/main" val="348979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5" imgW="347" imgH="348" progId="TCLayout.ActiveDocument.1">
                  <p:embed/>
                </p:oleObj>
              </mc:Choice>
              <mc:Fallback>
                <p:oleObj name="Diapositiva de think-cell" r:id="rId15" imgW="347" imgH="348" progId="TCLayout.ActiveDocument.1">
                  <p:embed/>
                  <p:pic>
                    <p:nvPicPr>
                      <p:cNvPr id="8" name="Object 7" hidden="1">
                        <a:extLst>
                          <a:ext uri="{FF2B5EF4-FFF2-40B4-BE49-F238E27FC236}">
                            <a16:creationId xmlns:a16="http://schemas.microsoft.com/office/drawing/2014/main" id="{24F41F02-AABF-953B-DD36-C30E56B5B3C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FCA9FD-F264-4B7C-B49C-7EBCF563B8E3}" type="datetimeFigureOut">
              <a:rPr lang="es-CO" smtClean="0"/>
              <a:t>10/03/2024</a:t>
            </a:fld>
            <a:endParaRPr lang="es-CO"/>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E1C37E-D5AA-4142-BB2E-A9FA0B03D8E6}" type="slidenum">
              <a:rPr lang="es-CO" smtClean="0"/>
              <a:t>‹Nº›</a:t>
            </a:fld>
            <a:endParaRPr lang="es-CO"/>
          </a:p>
        </p:txBody>
      </p:sp>
    </p:spTree>
    <p:extLst>
      <p:ext uri="{BB962C8B-B14F-4D97-AF65-F5344CB8AC3E}">
        <p14:creationId xmlns:p14="http://schemas.microsoft.com/office/powerpoint/2010/main" val="162180732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hyperlink" Target="http://www.cambioclimatico.gov.co/3ra-comunicacion-cambio-climatico" TargetMode="External"/><Relationship Id="rId2" Type="http://schemas.openxmlformats.org/officeDocument/2006/relationships/hyperlink" Target="https://www.ids.ac.uk/publications/predictive-analytics-in-humanitarian-action-a-preliminary-mapping-and-analysis/" TargetMode="External"/><Relationship Id="rId1" Type="http://schemas.openxmlformats.org/officeDocument/2006/relationships/slideLayout" Target="../slideLayouts/slideLayout39.xml"/><Relationship Id="rId4" Type="http://schemas.openxmlformats.org/officeDocument/2006/relationships/hyperlink" Target="https://pubmed.ncbi.nlm.nih.gov/34413350/"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1.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0.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9.png"/><Relationship Id="rId7" Type="http://schemas.openxmlformats.org/officeDocument/2006/relationships/diagramColors" Target="../diagrams/colors2.xml"/><Relationship Id="rId2" Type="http://schemas.openxmlformats.org/officeDocument/2006/relationships/image" Target="../media/image48.png"/><Relationship Id="rId1" Type="http://schemas.openxmlformats.org/officeDocument/2006/relationships/slideLayout" Target="../slideLayouts/slideLayout4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hyperlink" Target="http://www.cambioclimatico.gov.co/resultados#:~:text=El%20%22An%C3%A1lisis%20de%20Vulnerabilidad%20y%20Riesgo%20por%20Cambio,Descargue%20el%20documento%20siguiendo%20los%20siguientes%20pasos%3A%201." TargetMode="External"/><Relationship Id="rId1" Type="http://schemas.openxmlformats.org/officeDocument/2006/relationships/slideLayout" Target="../slideLayouts/slideLayout4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9.xml"/><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8D8A2CF-1ADD-EBE0-DB55-AE200D744D18}"/>
              </a:ext>
            </a:extLst>
          </p:cNvPr>
          <p:cNvSpPr>
            <a:spLocks noGrp="1"/>
          </p:cNvSpPr>
          <p:nvPr>
            <p:ph type="ctrTitle"/>
          </p:nvPr>
        </p:nvSpPr>
        <p:spPr>
          <a:xfrm>
            <a:off x="1181099" y="1819277"/>
            <a:ext cx="9031209" cy="2387600"/>
          </a:xfrm>
        </p:spPr>
        <p:txBody>
          <a:bodyPr>
            <a:normAutofit/>
          </a:bodyPr>
          <a:lstStyle/>
          <a:p>
            <a:r>
              <a:rPr lang="es-CO" sz="5400" dirty="0"/>
              <a:t>Predictive </a:t>
            </a:r>
            <a:r>
              <a:rPr lang="es-CO" sz="5400" dirty="0" err="1"/>
              <a:t>model</a:t>
            </a:r>
            <a:r>
              <a:rPr lang="es-CO" sz="5400" dirty="0"/>
              <a:t> </a:t>
            </a:r>
            <a:r>
              <a:rPr lang="es-CO" sz="5400" dirty="0" err="1"/>
              <a:t>to</a:t>
            </a:r>
            <a:r>
              <a:rPr lang="es-CO" sz="5400" dirty="0"/>
              <a:t> </a:t>
            </a:r>
            <a:r>
              <a:rPr lang="es-CO" sz="5400" dirty="0" err="1"/>
              <a:t>allocate</a:t>
            </a:r>
            <a:r>
              <a:rPr lang="es-CO" sz="5400" dirty="0"/>
              <a:t> </a:t>
            </a:r>
            <a:r>
              <a:rPr lang="es-CO" sz="5400" dirty="0" err="1"/>
              <a:t>resources</a:t>
            </a:r>
            <a:r>
              <a:rPr lang="es-CO" sz="5400" dirty="0"/>
              <a:t> </a:t>
            </a:r>
            <a:r>
              <a:rPr lang="es-CO" sz="5400" dirty="0" err="1"/>
              <a:t>for</a:t>
            </a:r>
            <a:r>
              <a:rPr lang="es-CO" sz="5400" dirty="0"/>
              <a:t> non </a:t>
            </a:r>
            <a:r>
              <a:rPr lang="es-CO" sz="5400" dirty="0" err="1"/>
              <a:t>operational</a:t>
            </a:r>
            <a:r>
              <a:rPr lang="es-CO" sz="5400" dirty="0"/>
              <a:t> </a:t>
            </a:r>
            <a:r>
              <a:rPr lang="es-CO" sz="5400" dirty="0" err="1"/>
              <a:t>emergencies</a:t>
            </a:r>
            <a:endParaRPr lang="es-CO" sz="5400" dirty="0"/>
          </a:p>
        </p:txBody>
      </p:sp>
      <p:sp>
        <p:nvSpPr>
          <p:cNvPr id="3" name="Subtítulo 2">
            <a:extLst>
              <a:ext uri="{FF2B5EF4-FFF2-40B4-BE49-F238E27FC236}">
                <a16:creationId xmlns:a16="http://schemas.microsoft.com/office/drawing/2014/main" id="{14285088-33FC-A555-90C1-96ED8D40406F}"/>
              </a:ext>
            </a:extLst>
          </p:cNvPr>
          <p:cNvSpPr>
            <a:spLocks noGrp="1"/>
          </p:cNvSpPr>
          <p:nvPr>
            <p:ph type="subTitle" idx="1"/>
          </p:nvPr>
        </p:nvSpPr>
        <p:spPr>
          <a:xfrm>
            <a:off x="1181100" y="4619626"/>
            <a:ext cx="7661148" cy="1655762"/>
          </a:xfrm>
        </p:spPr>
        <p:txBody>
          <a:bodyPr>
            <a:normAutofit/>
          </a:bodyPr>
          <a:lstStyle/>
          <a:p>
            <a:pPr algn="r"/>
            <a:r>
              <a:rPr lang="es-CO" dirty="0"/>
              <a:t>April / 2023</a:t>
            </a:r>
          </a:p>
          <a:p>
            <a:pPr algn="r"/>
            <a:r>
              <a:rPr lang="es-CO" dirty="0"/>
              <a:t>Cristian Camilo Herreño Mojica</a:t>
            </a:r>
          </a:p>
        </p:txBody>
      </p:sp>
    </p:spTree>
    <p:extLst>
      <p:ext uri="{BB962C8B-B14F-4D97-AF65-F5344CB8AC3E}">
        <p14:creationId xmlns:p14="http://schemas.microsoft.com/office/powerpoint/2010/main" val="4472788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364CB7-03B9-9609-4D48-3F1D238DEC3B}"/>
              </a:ext>
            </a:extLst>
          </p:cNvPr>
          <p:cNvSpPr>
            <a:spLocks noGrp="1"/>
          </p:cNvSpPr>
          <p:nvPr>
            <p:ph type="title"/>
          </p:nvPr>
        </p:nvSpPr>
        <p:spPr>
          <a:xfrm>
            <a:off x="725572" y="109728"/>
            <a:ext cx="10210800" cy="481916"/>
          </a:xfrm>
        </p:spPr>
        <p:txBody>
          <a:bodyPr>
            <a:normAutofit fontScale="90000"/>
          </a:bodyPr>
          <a:lstStyle/>
          <a:p>
            <a:r>
              <a:rPr lang="es-CO" dirty="0" err="1"/>
              <a:t>Resources</a:t>
            </a:r>
            <a:r>
              <a:rPr lang="es-CO" dirty="0"/>
              <a:t> - 2024 </a:t>
            </a:r>
            <a:r>
              <a:rPr lang="es-CO" dirty="0" err="1"/>
              <a:t>Estimate</a:t>
            </a:r>
            <a:endParaRPr lang="es-CO" dirty="0"/>
          </a:p>
        </p:txBody>
      </p:sp>
      <p:graphicFrame>
        <p:nvGraphicFramePr>
          <p:cNvPr id="4" name="Diagrama 3">
            <a:extLst>
              <a:ext uri="{FF2B5EF4-FFF2-40B4-BE49-F238E27FC236}">
                <a16:creationId xmlns:a16="http://schemas.microsoft.com/office/drawing/2014/main" id="{935EFDA8-052E-A918-3A84-B0B2E46B88FF}"/>
              </a:ext>
            </a:extLst>
          </p:cNvPr>
          <p:cNvGraphicFramePr/>
          <p:nvPr>
            <p:extLst>
              <p:ext uri="{D42A27DB-BD31-4B8C-83A1-F6EECF244321}">
                <p14:modId xmlns:p14="http://schemas.microsoft.com/office/powerpoint/2010/main" val="3479268301"/>
              </p:ext>
            </p:extLst>
          </p:nvPr>
        </p:nvGraphicFramePr>
        <p:xfrm>
          <a:off x="897267" y="705566"/>
          <a:ext cx="10864667" cy="15059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9" name="CuadroTexto 98">
            <a:extLst>
              <a:ext uri="{FF2B5EF4-FFF2-40B4-BE49-F238E27FC236}">
                <a16:creationId xmlns:a16="http://schemas.microsoft.com/office/drawing/2014/main" id="{F6CDE7A2-4349-5914-0895-1F9EDC6CF48E}"/>
              </a:ext>
            </a:extLst>
          </p:cNvPr>
          <p:cNvSpPr txBox="1"/>
          <p:nvPr/>
        </p:nvSpPr>
        <p:spPr>
          <a:xfrm>
            <a:off x="725572" y="2431855"/>
            <a:ext cx="10983950" cy="2287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lnSpc>
                <a:spcPct val="120000"/>
              </a:lnSpc>
              <a:buFont typeface="Arial"/>
              <a:buChar char="•"/>
            </a:pPr>
            <a:r>
              <a:rPr lang="en-US" sz="1200" dirty="0">
                <a:cs typeface="Arial"/>
              </a:rPr>
              <a:t>The estimate was based on geostatistical studies for rainfall emergencies in Nigeria (</a:t>
            </a:r>
            <a:r>
              <a:rPr lang="en-US" sz="1200" dirty="0" err="1">
                <a:cs typeface="Arial"/>
              </a:rPr>
              <a:t>Okunlola</a:t>
            </a:r>
            <a:r>
              <a:rPr lang="en-US" sz="1200" dirty="0">
                <a:cs typeface="Arial"/>
              </a:rPr>
              <a:t>, O.A. et al, 2021) and on the Institute of Development Studies' compilation work for the UK government on predictive models in humanitarian actions. (Hernandez, K., Roberts, T. 2020).
Given the historical data of temporal and geographic emergencies, a decision tree model with spatial autocorrelation was estimated with an accuracy in the test data of 68%, see slide annex 1.
It was estimated with data extracted from the IDEAM of the climate change risk index for each department, percentage variations in annual temperature and annual precipitation and own data on the investment in emergencies for each department from 2018 to 2022.
It was estimated under 3 scenarios, the medium scenario corresponds to the prediction of the model for the departments with </a:t>
            </a:r>
            <a:r>
              <a:rPr lang="en-US" sz="1200" dirty="0" err="1">
                <a:cs typeface="Arial"/>
              </a:rPr>
              <a:t>Ecopetrol</a:t>
            </a:r>
            <a:r>
              <a:rPr lang="en-US" sz="1200" dirty="0">
                <a:cs typeface="Arial"/>
              </a:rPr>
              <a:t> presence that were part of the historical in the last 5 years (Arauca, Bolívar, Casanare, Meta, La Guajira, Norte de Santander, Santander). The high scenario corresponds to the sum of the medium scenario plus the average of the estimate of the 5 departments with the highest risk of climate change according to the IDEAM index. The low scenario is the average of the actual causation, based on 2018, of the last 3 years.</a:t>
            </a:r>
            <a:endParaRPr lang="es-ES" sz="1200" dirty="0">
              <a:solidFill>
                <a:srgbClr val="000000"/>
              </a:solidFill>
              <a:cs typeface="Arial"/>
            </a:endParaRPr>
          </a:p>
        </p:txBody>
      </p:sp>
      <p:graphicFrame>
        <p:nvGraphicFramePr>
          <p:cNvPr id="115" name="Tabla 115">
            <a:extLst>
              <a:ext uri="{FF2B5EF4-FFF2-40B4-BE49-F238E27FC236}">
                <a16:creationId xmlns:a16="http://schemas.microsoft.com/office/drawing/2014/main" id="{72081D10-C479-ED8E-78B9-2E08C538C54F}"/>
              </a:ext>
            </a:extLst>
          </p:cNvPr>
          <p:cNvGraphicFramePr>
            <a:graphicFrameLocks noGrp="1"/>
          </p:cNvGraphicFramePr>
          <p:nvPr>
            <p:extLst>
              <p:ext uri="{D42A27DB-BD31-4B8C-83A1-F6EECF244321}">
                <p14:modId xmlns:p14="http://schemas.microsoft.com/office/powerpoint/2010/main" val="162237175"/>
              </p:ext>
            </p:extLst>
          </p:nvPr>
        </p:nvGraphicFramePr>
        <p:xfrm>
          <a:off x="2061457" y="5861068"/>
          <a:ext cx="8874915" cy="752707"/>
        </p:xfrm>
        <a:graphic>
          <a:graphicData uri="http://schemas.openxmlformats.org/drawingml/2006/table">
            <a:tbl>
              <a:tblPr firstRow="1" bandRow="1">
                <a:tableStyleId>{5C22544A-7EE6-4342-B048-85BDC9FD1C3A}</a:tableStyleId>
              </a:tblPr>
              <a:tblGrid>
                <a:gridCol w="2958305">
                  <a:extLst>
                    <a:ext uri="{9D8B030D-6E8A-4147-A177-3AD203B41FA5}">
                      <a16:colId xmlns:a16="http://schemas.microsoft.com/office/drawing/2014/main" val="301892584"/>
                    </a:ext>
                  </a:extLst>
                </a:gridCol>
                <a:gridCol w="2958305">
                  <a:extLst>
                    <a:ext uri="{9D8B030D-6E8A-4147-A177-3AD203B41FA5}">
                      <a16:colId xmlns:a16="http://schemas.microsoft.com/office/drawing/2014/main" val="2388256461"/>
                    </a:ext>
                  </a:extLst>
                </a:gridCol>
                <a:gridCol w="2958305">
                  <a:extLst>
                    <a:ext uri="{9D8B030D-6E8A-4147-A177-3AD203B41FA5}">
                      <a16:colId xmlns:a16="http://schemas.microsoft.com/office/drawing/2014/main" val="3975899304"/>
                    </a:ext>
                  </a:extLst>
                </a:gridCol>
              </a:tblGrid>
              <a:tr h="408878">
                <a:tc>
                  <a:txBody>
                    <a:bodyPr/>
                    <a:lstStyle/>
                    <a:p>
                      <a:pPr algn="ctr"/>
                      <a:r>
                        <a:rPr lang="en-US" sz="1600" dirty="0"/>
                        <a:t>L</a:t>
                      </a:r>
                      <a:r>
                        <a:rPr lang="es-ES" sz="1600" dirty="0" err="1"/>
                        <a:t>ow</a:t>
                      </a:r>
                      <a:r>
                        <a:rPr lang="es-ES" sz="1600" dirty="0"/>
                        <a:t> </a:t>
                      </a:r>
                      <a:r>
                        <a:rPr lang="es-ES" sz="1600" dirty="0" err="1"/>
                        <a:t>scenary</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rgbClr val="0070C0"/>
                    </a:solidFill>
                  </a:tcPr>
                </a:tc>
                <a:tc>
                  <a:txBody>
                    <a:bodyPr/>
                    <a:lstStyle/>
                    <a:p>
                      <a:pPr algn="ctr"/>
                      <a:r>
                        <a:rPr lang="es-ES" sz="1600" dirty="0"/>
                        <a:t>Medium </a:t>
                      </a:r>
                      <a:r>
                        <a:rPr lang="es-ES" sz="1600" dirty="0" err="1"/>
                        <a:t>scenary</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rgbClr val="0070C0"/>
                    </a:solidFill>
                  </a:tcPr>
                </a:tc>
                <a:tc>
                  <a:txBody>
                    <a:bodyPr/>
                    <a:lstStyle/>
                    <a:p>
                      <a:pPr algn="ctr"/>
                      <a:r>
                        <a:rPr lang="es-ES" sz="1600" dirty="0"/>
                        <a:t>High </a:t>
                      </a:r>
                      <a:r>
                        <a:rPr lang="es-ES" sz="1600" dirty="0" err="1"/>
                        <a:t>scenary</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rgbClr val="0070C0"/>
                    </a:solidFill>
                  </a:tcPr>
                </a:tc>
                <a:extLst>
                  <a:ext uri="{0D108BD9-81ED-4DB2-BD59-A6C34878D82A}">
                    <a16:rowId xmlns:a16="http://schemas.microsoft.com/office/drawing/2014/main" val="1944678583"/>
                  </a:ext>
                </a:extLst>
              </a:tr>
              <a:tr h="343829">
                <a:tc>
                  <a:txBody>
                    <a:bodyPr/>
                    <a:lstStyle/>
                    <a:p>
                      <a:pPr algn="ctr"/>
                      <a:r>
                        <a:rPr lang="es-ES" sz="1600" dirty="0"/>
                        <a:t>$ 5,9 </a:t>
                      </a:r>
                      <a:r>
                        <a:rPr lang="es-ES" sz="1600" dirty="0" err="1"/>
                        <a:t>mM</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es-ES" sz="1600" b="0" i="0" u="none" strike="noStrike" baseline="0" noProof="0" dirty="0">
                          <a:solidFill>
                            <a:srgbClr val="000000"/>
                          </a:solidFill>
                          <a:latin typeface="Arial"/>
                        </a:rPr>
                        <a:t>$ 7.4 </a:t>
                      </a:r>
                      <a:r>
                        <a:rPr lang="es-ES" sz="1600" b="0" i="0" u="none" strike="noStrike" baseline="0" noProof="0" dirty="0" err="1">
                          <a:solidFill>
                            <a:srgbClr val="000000"/>
                          </a:solidFill>
                          <a:latin typeface="Arial"/>
                        </a:rPr>
                        <a:t>mM</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algn="ctr"/>
                      <a:r>
                        <a:rPr lang="es-ES" sz="1600" dirty="0"/>
                        <a:t>$ 8.8 </a:t>
                      </a:r>
                      <a:r>
                        <a:rPr lang="es-ES" sz="1600" dirty="0" err="1"/>
                        <a:t>mM</a:t>
                      </a:r>
                      <a:endParaRPr lang="es-ES" sz="1600" dirty="0"/>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429652898"/>
                  </a:ext>
                </a:extLst>
              </a:tr>
            </a:tbl>
          </a:graphicData>
        </a:graphic>
      </p:graphicFrame>
      <p:sp>
        <p:nvSpPr>
          <p:cNvPr id="5" name="CuadroTexto 4">
            <a:extLst>
              <a:ext uri="{FF2B5EF4-FFF2-40B4-BE49-F238E27FC236}">
                <a16:creationId xmlns:a16="http://schemas.microsoft.com/office/drawing/2014/main" id="{B1953E53-3556-202B-DC4F-E5B9961AB3B8}"/>
              </a:ext>
            </a:extLst>
          </p:cNvPr>
          <p:cNvSpPr txBox="1"/>
          <p:nvPr/>
        </p:nvSpPr>
        <p:spPr>
          <a:xfrm>
            <a:off x="1130656" y="4840338"/>
            <a:ext cx="10397888" cy="900246"/>
          </a:xfrm>
          <a:prstGeom prst="rect">
            <a:avLst/>
          </a:prstGeom>
          <a:noFill/>
          <a:ln>
            <a:solidFill>
              <a:srgbClr val="002060"/>
            </a:solidFill>
            <a:prstDash val="sysDot"/>
            <a:extLst>
              <a:ext uri="{C807C97D-BFC1-408E-A445-0C87EB9F89A2}">
                <ask:lineSketchStyleProps xmlns:ask="http://schemas.microsoft.com/office/drawing/2018/sketchyshapes">
                  <ask:type>
                    <ask:lineSketchNone/>
                  </ask:type>
                </ask:lineSketchStyleProps>
              </a:ext>
            </a:extLs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s-CO"/>
            </a:defPPr>
            <a:lvl1pPr algn="just">
              <a:defRPr sz="1050" b="1">
                <a:cs typeface="Arial"/>
              </a:defRPr>
            </a:lvl1pPr>
          </a:lstStyle>
          <a:p>
            <a:pPr algn="ctr"/>
            <a:r>
              <a:rPr lang="es-ES" sz="1400" i="1" dirty="0" err="1"/>
              <a:t>Emergency_Resources</a:t>
            </a:r>
            <a:r>
              <a:rPr lang="es-ES" sz="1400" i="1" baseline="-25000" dirty="0" err="1"/>
              <a:t>it</a:t>
            </a:r>
            <a:r>
              <a:rPr lang="es-ES" sz="1400" i="1" dirty="0"/>
              <a:t>= </a:t>
            </a:r>
            <a:r>
              <a:rPr lang="es-ES" sz="1400" i="1" dirty="0" err="1"/>
              <a:t>Risk_Index</a:t>
            </a:r>
            <a:r>
              <a:rPr lang="es-ES" sz="1400" i="1" baseline="-25000" dirty="0" err="1"/>
              <a:t>i</a:t>
            </a:r>
            <a:r>
              <a:rPr lang="es-ES" sz="1400" i="1" dirty="0"/>
              <a:t> +  %</a:t>
            </a:r>
            <a:r>
              <a:rPr lang="es-ES" sz="1400" i="1" dirty="0" err="1"/>
              <a:t>annual</a:t>
            </a:r>
            <a:r>
              <a:rPr lang="es-ES" sz="1400" i="1" dirty="0"/>
              <a:t> </a:t>
            </a:r>
            <a:r>
              <a:rPr lang="es-ES" sz="1400" i="1" dirty="0" err="1"/>
              <a:t>temperature</a:t>
            </a:r>
            <a:r>
              <a:rPr lang="es-ES" sz="1400" i="1" dirty="0"/>
              <a:t> </a:t>
            </a:r>
            <a:r>
              <a:rPr lang="es-ES" sz="1400" i="1" dirty="0" err="1"/>
              <a:t>rate</a:t>
            </a:r>
            <a:r>
              <a:rPr lang="es-ES" sz="1400" i="1" baseline="-25000" dirty="0" err="1"/>
              <a:t>it</a:t>
            </a:r>
            <a:r>
              <a:rPr lang="es-ES" sz="1400" i="1" baseline="-25000" dirty="0"/>
              <a:t> </a:t>
            </a:r>
            <a:r>
              <a:rPr lang="es-ES" sz="1400" i="1" dirty="0"/>
              <a:t>+  % </a:t>
            </a:r>
            <a:r>
              <a:rPr lang="es-ES" sz="1400" i="1" dirty="0" err="1"/>
              <a:t>annual</a:t>
            </a:r>
            <a:r>
              <a:rPr lang="es-ES" sz="1400" i="1" dirty="0"/>
              <a:t> </a:t>
            </a:r>
            <a:r>
              <a:rPr lang="es-ES" sz="1400" i="1" dirty="0" err="1"/>
              <a:t>precipitation</a:t>
            </a:r>
            <a:r>
              <a:rPr lang="es-ES" sz="1400" i="1" dirty="0"/>
              <a:t> </a:t>
            </a:r>
            <a:r>
              <a:rPr lang="es-ES" sz="1400" i="1" dirty="0" err="1"/>
              <a:t>rate</a:t>
            </a:r>
            <a:r>
              <a:rPr lang="es-ES" sz="1400" i="1" baseline="-25000" dirty="0" err="1"/>
              <a:t>it</a:t>
            </a:r>
            <a:endParaRPr lang="es-ES" sz="1400" i="1" dirty="0"/>
          </a:p>
          <a:p>
            <a:pPr algn="ctr"/>
            <a:r>
              <a:rPr lang="es-CO" i="1" dirty="0"/>
              <a:t>         (Actual base </a:t>
            </a:r>
            <a:r>
              <a:rPr lang="es-CO" i="1" dirty="0" err="1"/>
              <a:t>values</a:t>
            </a:r>
            <a:r>
              <a:rPr lang="es-CO" i="1" dirty="0"/>
              <a:t> 2018)		(</a:t>
            </a:r>
            <a:r>
              <a:rPr lang="en-US" i="1" dirty="0"/>
              <a:t>Average for each apartment based on the 3 closest apartments</a:t>
            </a:r>
            <a:r>
              <a:rPr lang="es-CO" i="1" dirty="0"/>
              <a:t>)</a:t>
            </a:r>
          </a:p>
          <a:p>
            <a:pPr algn="ctr"/>
            <a:endParaRPr lang="es-CO" sz="1400" i="1" dirty="0"/>
          </a:p>
          <a:p>
            <a:pPr algn="ctr"/>
            <a:r>
              <a:rPr lang="es-CO" sz="1400" i="1" dirty="0"/>
              <a:t>i= </a:t>
            </a:r>
            <a:r>
              <a:rPr lang="es-CO" sz="1400" i="1" dirty="0" err="1"/>
              <a:t>Department</a:t>
            </a:r>
            <a:r>
              <a:rPr lang="es-CO" sz="1400" i="1" dirty="0"/>
              <a:t>; t= </a:t>
            </a:r>
            <a:r>
              <a:rPr lang="es-CO" sz="1400" i="1" dirty="0" err="1"/>
              <a:t>year</a:t>
            </a:r>
            <a:endParaRPr lang="es-CO" sz="1400" i="1" dirty="0"/>
          </a:p>
        </p:txBody>
      </p:sp>
    </p:spTree>
    <p:extLst>
      <p:ext uri="{BB962C8B-B14F-4D97-AF65-F5344CB8AC3E}">
        <p14:creationId xmlns:p14="http://schemas.microsoft.com/office/powerpoint/2010/main" val="3680803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364CB7-03B9-9609-4D48-3F1D238DEC3B}"/>
              </a:ext>
            </a:extLst>
          </p:cNvPr>
          <p:cNvSpPr>
            <a:spLocks noGrp="1"/>
          </p:cNvSpPr>
          <p:nvPr>
            <p:ph type="title"/>
          </p:nvPr>
        </p:nvSpPr>
        <p:spPr>
          <a:xfrm>
            <a:off x="790886" y="332222"/>
            <a:ext cx="10210800" cy="481916"/>
          </a:xfrm>
        </p:spPr>
        <p:txBody>
          <a:bodyPr>
            <a:normAutofit fontScale="90000"/>
          </a:bodyPr>
          <a:lstStyle/>
          <a:p>
            <a:r>
              <a:rPr lang="es-CO" dirty="0"/>
              <a:t>Referencias</a:t>
            </a:r>
          </a:p>
        </p:txBody>
      </p:sp>
      <p:sp>
        <p:nvSpPr>
          <p:cNvPr id="5" name="CuadroTexto 4">
            <a:extLst>
              <a:ext uri="{FF2B5EF4-FFF2-40B4-BE49-F238E27FC236}">
                <a16:creationId xmlns:a16="http://schemas.microsoft.com/office/drawing/2014/main" id="{2706DE3F-57EE-0F13-BA4B-9353122E6151}"/>
              </a:ext>
            </a:extLst>
          </p:cNvPr>
          <p:cNvSpPr txBox="1"/>
          <p:nvPr/>
        </p:nvSpPr>
        <p:spPr>
          <a:xfrm>
            <a:off x="903513" y="1068364"/>
            <a:ext cx="10210799" cy="3970318"/>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rPr>
              <a:t>Hernandez, K. and Roberts, T. (2020). </a:t>
            </a:r>
            <a:r>
              <a:rPr lang="en-US" b="0" i="1" dirty="0">
                <a:solidFill>
                  <a:srgbClr val="000000"/>
                </a:solidFill>
                <a:effectLst/>
              </a:rPr>
              <a:t>Predictive Analytics in Humanitarian Action: a preliminary mapping and analysis</a:t>
            </a:r>
            <a:r>
              <a:rPr lang="en-US" b="0" i="0" dirty="0">
                <a:solidFill>
                  <a:srgbClr val="000000"/>
                </a:solidFill>
                <a:effectLst/>
              </a:rPr>
              <a:t>. K4D Emerging Issues Report 33. Brighton, UK: Institute of Development Studies. </a:t>
            </a:r>
            <a:r>
              <a:rPr lang="en-US" dirty="0">
                <a:hlinkClick r:id="rId2"/>
              </a:rPr>
              <a:t>Predictive analytics in humanitarian action: a preliminary mapping and analysis - Institute of Development Studies (ids.ac.uk)</a:t>
            </a:r>
            <a:r>
              <a:rPr lang="en-US" dirty="0"/>
              <a:t>.</a:t>
            </a:r>
            <a:endParaRPr lang="en-US" b="0" i="0" dirty="0">
              <a:solidFill>
                <a:srgbClr val="000000"/>
              </a:solidFill>
              <a:effectLst/>
            </a:endParaRPr>
          </a:p>
          <a:p>
            <a:pPr marL="285750" indent="-285750">
              <a:buFont typeface="Arial" panose="020B0604020202020204" pitchFamily="34" charset="0"/>
              <a:buChar char="•"/>
            </a:pPr>
            <a:r>
              <a:rPr lang="es-ES" dirty="0">
                <a:solidFill>
                  <a:srgbClr val="000000"/>
                </a:solidFill>
              </a:rPr>
              <a:t>IDEAM, PNUD (2017). </a:t>
            </a:r>
            <a:r>
              <a:rPr lang="es-ES" i="1" dirty="0">
                <a:solidFill>
                  <a:srgbClr val="000000"/>
                </a:solidFill>
              </a:rPr>
              <a:t>3ra Comunicación Nacional de Cambio Climático</a:t>
            </a:r>
            <a:r>
              <a:rPr lang="es-ES" dirty="0">
                <a:solidFill>
                  <a:srgbClr val="000000"/>
                </a:solidFill>
              </a:rPr>
              <a:t>. Convención Marco de las Naciones Unidas sobre Cambio Climático. </a:t>
            </a:r>
            <a:r>
              <a:rPr lang="es-ES" dirty="0">
                <a:solidFill>
                  <a:srgbClr val="000000"/>
                </a:solidFill>
                <a:hlinkClick r:id="rId3"/>
              </a:rPr>
              <a:t>http://www.cambioclimatico.gov.co/3ra-comunicacion-cambio-climatico</a:t>
            </a:r>
            <a:r>
              <a:rPr lang="es-ES" dirty="0">
                <a:solidFill>
                  <a:srgbClr val="000000"/>
                </a:solidFill>
              </a:rPr>
              <a:t> </a:t>
            </a:r>
            <a:endParaRPr lang="en-US" b="0" i="0" dirty="0">
              <a:solidFill>
                <a:srgbClr val="000000"/>
              </a:solidFill>
              <a:effectLst/>
            </a:endParaRPr>
          </a:p>
          <a:p>
            <a:pPr marL="285750" indent="-285750">
              <a:buFont typeface="Arial" panose="020B0604020202020204" pitchFamily="34" charset="0"/>
              <a:buChar char="•"/>
            </a:pPr>
            <a:r>
              <a:rPr lang="hu-HU" dirty="0">
                <a:solidFill>
                  <a:srgbClr val="000000"/>
                </a:solidFill>
              </a:rPr>
              <a:t>Okunlola O. A., Olubusoye O. E., Ayinde K., Lukman A. F., Szcs I. (2021). </a:t>
            </a:r>
            <a:r>
              <a:rPr lang="hu-HU" i="1" dirty="0">
                <a:solidFill>
                  <a:srgbClr val="000000"/>
                </a:solidFill>
              </a:rPr>
              <a:t>Spatial regression and geostatistics discourse with empirical application to precipitation data in nigeria</a:t>
            </a:r>
            <a:r>
              <a:rPr lang="hu-HU" dirty="0">
                <a:solidFill>
                  <a:srgbClr val="000000"/>
                </a:solidFill>
              </a:rPr>
              <a:t>. Sci. Rep. 11, 16848. 10.1038/s41598-021-96124-x - DOI - PMC – PubMed</a:t>
            </a:r>
            <a:r>
              <a:rPr lang="es-419" dirty="0">
                <a:solidFill>
                  <a:srgbClr val="000000"/>
                </a:solidFill>
              </a:rPr>
              <a:t>. </a:t>
            </a:r>
            <a:r>
              <a:rPr lang="en-US" dirty="0">
                <a:hlinkClick r:id="rId4"/>
              </a:rPr>
              <a:t>Spatial regression and </a:t>
            </a:r>
            <a:r>
              <a:rPr lang="en-US" dirty="0" err="1">
                <a:hlinkClick r:id="rId4"/>
              </a:rPr>
              <a:t>geostatistics</a:t>
            </a:r>
            <a:r>
              <a:rPr lang="en-US" dirty="0">
                <a:hlinkClick r:id="rId4"/>
              </a:rPr>
              <a:t> discourse with empirical application to precipitation data in Nigeria - PubMed (nih.gov)</a:t>
            </a:r>
            <a:endParaRPr lang="es-419" dirty="0">
              <a:solidFill>
                <a:srgbClr val="000000"/>
              </a:solidFill>
            </a:endParaRPr>
          </a:p>
          <a:p>
            <a:pPr marL="285750" indent="-285750">
              <a:buFont typeface="Arial" panose="020B0604020202020204" pitchFamily="34" charset="0"/>
              <a:buChar char="•"/>
            </a:pPr>
            <a:r>
              <a:rPr lang="es-ES" dirty="0">
                <a:solidFill>
                  <a:srgbClr val="000000"/>
                </a:solidFill>
              </a:rPr>
              <a:t>Unidad Nacional para la Gestión de Riesgos de Desastres</a:t>
            </a:r>
            <a:r>
              <a:rPr lang="es-419" dirty="0">
                <a:solidFill>
                  <a:srgbClr val="000000"/>
                </a:solidFill>
              </a:rPr>
              <a:t>, 2022) </a:t>
            </a:r>
            <a:r>
              <a:rPr lang="es-ES" dirty="0">
                <a:solidFill>
                  <a:srgbClr val="000000"/>
                </a:solidFill>
              </a:rPr>
              <a:t>. </a:t>
            </a:r>
            <a:r>
              <a:rPr lang="es-ES" i="1" dirty="0">
                <a:solidFill>
                  <a:srgbClr val="000000"/>
                </a:solidFill>
              </a:rPr>
              <a:t>Informe Plan Nacional de respuesta, segunda temporada de lluvias. </a:t>
            </a:r>
            <a:endParaRPr lang="es-419" i="1" dirty="0">
              <a:solidFill>
                <a:srgbClr val="000000"/>
              </a:solidFill>
            </a:endParaRPr>
          </a:p>
        </p:txBody>
      </p:sp>
    </p:spTree>
    <p:extLst>
      <p:ext uri="{BB962C8B-B14F-4D97-AF65-F5344CB8AC3E}">
        <p14:creationId xmlns:p14="http://schemas.microsoft.com/office/powerpoint/2010/main" val="6166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C4351615-74D9-468F-8375-569F4DEB81AA}"/>
              </a:ext>
            </a:extLst>
          </p:cNvPr>
          <p:cNvSpPr/>
          <p:nvPr/>
        </p:nvSpPr>
        <p:spPr>
          <a:xfrm>
            <a:off x="4161802" y="3332860"/>
            <a:ext cx="3794333" cy="27773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3" name="Imagen 2" descr="Logotipo, nombre de la empresa&#10;&#10;Descripción generada automáticamente">
            <a:extLst>
              <a:ext uri="{FF2B5EF4-FFF2-40B4-BE49-F238E27FC236}">
                <a16:creationId xmlns:a16="http://schemas.microsoft.com/office/drawing/2014/main" id="{00758AC6-7BD7-47B2-91A8-6A6EFA24D8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104"/>
          <a:stretch/>
        </p:blipFill>
        <p:spPr>
          <a:xfrm>
            <a:off x="4161802" y="3030910"/>
            <a:ext cx="3990886" cy="3827090"/>
          </a:xfrm>
          <a:prstGeom prst="rect">
            <a:avLst/>
          </a:prstGeom>
        </p:spPr>
      </p:pic>
    </p:spTree>
    <p:extLst>
      <p:ext uri="{BB962C8B-B14F-4D97-AF65-F5344CB8AC3E}">
        <p14:creationId xmlns:p14="http://schemas.microsoft.com/office/powerpoint/2010/main" val="2149520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27F0A50-45B2-147C-71ED-7E0BD5AEBB20}"/>
              </a:ext>
            </a:extLst>
          </p:cNvPr>
          <p:cNvSpPr>
            <a:spLocks noGrp="1"/>
          </p:cNvSpPr>
          <p:nvPr>
            <p:ph type="title"/>
          </p:nvPr>
        </p:nvSpPr>
        <p:spPr>
          <a:xfrm>
            <a:off x="759698" y="25784"/>
            <a:ext cx="10515600" cy="680873"/>
          </a:xfrm>
        </p:spPr>
        <p:txBody>
          <a:bodyPr>
            <a:normAutofit/>
          </a:bodyPr>
          <a:lstStyle/>
          <a:p>
            <a:r>
              <a:rPr lang="en-US" sz="3600" dirty="0"/>
              <a:t>Climate data 2010-2022</a:t>
            </a:r>
            <a:endParaRPr lang="es-CO" sz="3600" dirty="0"/>
          </a:p>
        </p:txBody>
      </p:sp>
      <p:pic>
        <p:nvPicPr>
          <p:cNvPr id="1026" name="Picture 2">
            <a:extLst>
              <a:ext uri="{FF2B5EF4-FFF2-40B4-BE49-F238E27FC236}">
                <a16:creationId xmlns:a16="http://schemas.microsoft.com/office/drawing/2014/main" id="{062B3574-6320-97C1-2CA6-73374C187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0083" y="886411"/>
            <a:ext cx="4919774" cy="221056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7523230-D526-2D42-561D-36C89CB8C1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716" y="886411"/>
            <a:ext cx="5966341" cy="3078858"/>
          </a:xfrm>
          <a:prstGeom prst="rect">
            <a:avLst/>
          </a:prstGeom>
          <a:noFill/>
          <a:extLst>
            <a:ext uri="{909E8E84-426E-40DD-AFC4-6F175D3DCCD1}">
              <a14:hiddenFill xmlns:a14="http://schemas.microsoft.com/office/drawing/2010/main">
                <a:solidFill>
                  <a:srgbClr val="FFFFFF"/>
                </a:solidFill>
              </a14:hiddenFill>
            </a:ext>
          </a:extLst>
        </p:spPr>
      </p:pic>
      <p:sp>
        <p:nvSpPr>
          <p:cNvPr id="12" name="CuadroTexto 11">
            <a:extLst>
              <a:ext uri="{FF2B5EF4-FFF2-40B4-BE49-F238E27FC236}">
                <a16:creationId xmlns:a16="http://schemas.microsoft.com/office/drawing/2014/main" id="{AA55019F-4B9B-6EBB-4EC4-6858D54B2A5C}"/>
              </a:ext>
            </a:extLst>
          </p:cNvPr>
          <p:cNvSpPr txBox="1"/>
          <p:nvPr/>
        </p:nvSpPr>
        <p:spPr>
          <a:xfrm>
            <a:off x="749493" y="4026286"/>
            <a:ext cx="5912564" cy="415498"/>
          </a:xfrm>
          <a:prstGeom prst="rect">
            <a:avLst/>
          </a:prstGeom>
          <a:noFill/>
        </p:spPr>
        <p:txBody>
          <a:bodyPr wrap="square">
            <a:spAutoFit/>
          </a:bodyPr>
          <a:lstStyle/>
          <a:p>
            <a:r>
              <a:rPr lang="en-US" sz="1050" dirty="0">
                <a:solidFill>
                  <a:schemeClr val="accent3">
                    <a:lumMod val="75000"/>
                  </a:schemeClr>
                </a:solidFill>
                <a:latin typeface="Calibri" panose="020F0502020204030204" pitchFamily="34" charset="0"/>
              </a:rPr>
              <a:t>Number of Events by Region between September 15 and December 15, period 1914 – 2021.  Source: National Unit for Disaster Risk Management. National Response Plan Report, Second Rainy Season 2022.</a:t>
            </a:r>
            <a:endParaRPr lang="es-CO" sz="1050" dirty="0">
              <a:solidFill>
                <a:schemeClr val="accent3">
                  <a:lumMod val="75000"/>
                </a:schemeClr>
              </a:solidFill>
            </a:endParaRPr>
          </a:p>
        </p:txBody>
      </p:sp>
      <p:sp>
        <p:nvSpPr>
          <p:cNvPr id="13" name="CuadroTexto 12">
            <a:extLst>
              <a:ext uri="{FF2B5EF4-FFF2-40B4-BE49-F238E27FC236}">
                <a16:creationId xmlns:a16="http://schemas.microsoft.com/office/drawing/2014/main" id="{12EE9BD9-AAAE-BC3A-417A-BA43428D6744}"/>
              </a:ext>
            </a:extLst>
          </p:cNvPr>
          <p:cNvSpPr txBox="1"/>
          <p:nvPr/>
        </p:nvSpPr>
        <p:spPr>
          <a:xfrm>
            <a:off x="759698" y="4816155"/>
            <a:ext cx="6716663" cy="1384995"/>
          </a:xfrm>
          <a:prstGeom prst="rect">
            <a:avLst/>
          </a:prstGeom>
          <a:noFill/>
        </p:spPr>
        <p:txBody>
          <a:bodyPr wrap="square" rtlCol="0">
            <a:spAutoFit/>
          </a:bodyPr>
          <a:lstStyle/>
          <a:p>
            <a:pPr marL="285750" indent="-285750">
              <a:buBlip>
                <a:blip r:embed="rId4">
                  <a:extLst>
                    <a:ext uri="{96DAC541-7B7A-43D3-8B79-37D633B846F1}">
                      <asvg:svgBlip xmlns:asvg="http://schemas.microsoft.com/office/drawing/2016/SVG/main" r:embed="rId5"/>
                    </a:ext>
                  </a:extLst>
                </a:blip>
              </a:buBlip>
            </a:pPr>
            <a:r>
              <a:rPr lang="en-US" sz="1400" dirty="0">
                <a:solidFill>
                  <a:schemeClr val="tx1">
                    <a:lumMod val="50000"/>
                    <a:lumOff val="50000"/>
                  </a:schemeClr>
                </a:solidFill>
              </a:rPr>
              <a:t>Floods and mass movements are the most prominent events in the last 100 years, most frequently in the Andean zone, which includes the Central, Central West and Catatumbo-Arauca regions.   
In second place is the Caribbean zone, corresponding to the Caribbean region. 
In fourth place of affectation is the Orinoco zone, which includes the Orinoco and Piedmont regions.</a:t>
            </a:r>
            <a:endParaRPr lang="es-CO" sz="1400" dirty="0">
              <a:solidFill>
                <a:schemeClr val="tx1">
                  <a:lumMod val="50000"/>
                  <a:lumOff val="50000"/>
                </a:schemeClr>
              </a:solidFill>
            </a:endParaRPr>
          </a:p>
        </p:txBody>
      </p:sp>
      <p:pic>
        <p:nvPicPr>
          <p:cNvPr id="5" name="Imagen 4">
            <a:extLst>
              <a:ext uri="{FF2B5EF4-FFF2-40B4-BE49-F238E27FC236}">
                <a16:creationId xmlns:a16="http://schemas.microsoft.com/office/drawing/2014/main" id="{945105D2-EA83-C624-A509-8E7778BA471A}"/>
              </a:ext>
            </a:extLst>
          </p:cNvPr>
          <p:cNvPicPr>
            <a:picLocks noChangeAspect="1"/>
          </p:cNvPicPr>
          <p:nvPr/>
        </p:nvPicPr>
        <p:blipFill>
          <a:blip r:embed="rId6"/>
          <a:stretch>
            <a:fillRect/>
          </a:stretch>
        </p:blipFill>
        <p:spPr>
          <a:xfrm>
            <a:off x="7476361" y="3144194"/>
            <a:ext cx="4443496" cy="3246662"/>
          </a:xfrm>
          <a:prstGeom prst="rect">
            <a:avLst/>
          </a:prstGeom>
        </p:spPr>
      </p:pic>
      <p:sp>
        <p:nvSpPr>
          <p:cNvPr id="6" name="CuadroTexto 5">
            <a:extLst>
              <a:ext uri="{FF2B5EF4-FFF2-40B4-BE49-F238E27FC236}">
                <a16:creationId xmlns:a16="http://schemas.microsoft.com/office/drawing/2014/main" id="{42F991E4-4E31-DF89-47A4-F72A743EFB05}"/>
              </a:ext>
            </a:extLst>
          </p:cNvPr>
          <p:cNvSpPr txBox="1"/>
          <p:nvPr/>
        </p:nvSpPr>
        <p:spPr>
          <a:xfrm>
            <a:off x="6313713" y="6380912"/>
            <a:ext cx="6476275" cy="246221"/>
          </a:xfrm>
          <a:prstGeom prst="rect">
            <a:avLst/>
          </a:prstGeom>
          <a:noFill/>
        </p:spPr>
        <p:txBody>
          <a:bodyPr wrap="square" rtlCol="0">
            <a:spAutoFit/>
          </a:bodyPr>
          <a:lstStyle/>
          <a:p>
            <a:r>
              <a:rPr lang="es-419" sz="1000" dirty="0" err="1"/>
              <a:t>Sources</a:t>
            </a:r>
            <a:r>
              <a:rPr lang="es-419" sz="1000" dirty="0"/>
              <a:t>: </a:t>
            </a:r>
            <a:r>
              <a:rPr lang="es-419" sz="1000" dirty="0" err="1"/>
              <a:t>Climate</a:t>
            </a:r>
            <a:r>
              <a:rPr lang="es-419" sz="1000" dirty="0"/>
              <a:t> </a:t>
            </a:r>
            <a:r>
              <a:rPr lang="es-419" sz="1000" dirty="0" err="1"/>
              <a:t>Risk</a:t>
            </a:r>
            <a:r>
              <a:rPr lang="es-419" sz="1000" dirty="0"/>
              <a:t> (IDEAM et al., 2017. RESULTS - IDEAM (cambioclimatico.gov.co)</a:t>
            </a:r>
            <a:r>
              <a:rPr lang="es-CO" sz="1000" b="0" i="0" dirty="0">
                <a:solidFill>
                  <a:srgbClr val="555555"/>
                </a:solidFill>
                <a:effectLst/>
                <a:latin typeface="Helvetica Neue"/>
              </a:rPr>
              <a:t> </a:t>
            </a:r>
            <a:endParaRPr lang="es-CO" sz="1000" dirty="0"/>
          </a:p>
        </p:txBody>
      </p:sp>
    </p:spTree>
    <p:extLst>
      <p:ext uri="{BB962C8B-B14F-4D97-AF65-F5344CB8AC3E}">
        <p14:creationId xmlns:p14="http://schemas.microsoft.com/office/powerpoint/2010/main" val="230848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27F0A50-45B2-147C-71ED-7E0BD5AEBB20}"/>
              </a:ext>
            </a:extLst>
          </p:cNvPr>
          <p:cNvSpPr>
            <a:spLocks noGrp="1"/>
          </p:cNvSpPr>
          <p:nvPr>
            <p:ph type="title"/>
          </p:nvPr>
        </p:nvSpPr>
        <p:spPr>
          <a:xfrm>
            <a:off x="759698" y="102898"/>
            <a:ext cx="10515600" cy="1087949"/>
          </a:xfrm>
        </p:spPr>
        <p:txBody>
          <a:bodyPr>
            <a:normAutofit/>
          </a:bodyPr>
          <a:lstStyle/>
          <a:p>
            <a:r>
              <a:rPr lang="en-US" sz="3600" dirty="0"/>
              <a:t>Historical Record of Disaster Events</a:t>
            </a:r>
            <a:endParaRPr lang="es-CO" sz="3600" dirty="0"/>
          </a:p>
        </p:txBody>
      </p:sp>
      <p:sp>
        <p:nvSpPr>
          <p:cNvPr id="8" name="CuadroTexto 7">
            <a:extLst>
              <a:ext uri="{FF2B5EF4-FFF2-40B4-BE49-F238E27FC236}">
                <a16:creationId xmlns:a16="http://schemas.microsoft.com/office/drawing/2014/main" id="{AB65F37B-248A-BE2F-8BD7-D03A463F5C42}"/>
              </a:ext>
            </a:extLst>
          </p:cNvPr>
          <p:cNvSpPr txBox="1"/>
          <p:nvPr/>
        </p:nvSpPr>
        <p:spPr>
          <a:xfrm>
            <a:off x="1644764" y="5550196"/>
            <a:ext cx="4138280" cy="430887"/>
          </a:xfrm>
          <a:prstGeom prst="rect">
            <a:avLst/>
          </a:prstGeom>
          <a:noFill/>
        </p:spPr>
        <p:txBody>
          <a:bodyPr wrap="square" rtlCol="0">
            <a:spAutoFit/>
          </a:bodyPr>
          <a:lstStyle/>
          <a:p>
            <a:r>
              <a:rPr lang="en-US" sz="1050" dirty="0"/>
              <a:t>Number of flood events recorded by department between 15 Sep. and 15 Dec 1914-2021</a:t>
            </a:r>
            <a:endParaRPr lang="es-CO" sz="1050" dirty="0"/>
          </a:p>
        </p:txBody>
      </p:sp>
      <p:sp>
        <p:nvSpPr>
          <p:cNvPr id="9" name="CuadroTexto 8">
            <a:extLst>
              <a:ext uri="{FF2B5EF4-FFF2-40B4-BE49-F238E27FC236}">
                <a16:creationId xmlns:a16="http://schemas.microsoft.com/office/drawing/2014/main" id="{BE6FD121-A21B-A84F-ADF1-6B073399A0DE}"/>
              </a:ext>
            </a:extLst>
          </p:cNvPr>
          <p:cNvSpPr txBox="1"/>
          <p:nvPr/>
        </p:nvSpPr>
        <p:spPr>
          <a:xfrm>
            <a:off x="7450876" y="5499309"/>
            <a:ext cx="4138280" cy="430887"/>
          </a:xfrm>
          <a:prstGeom prst="rect">
            <a:avLst/>
          </a:prstGeom>
          <a:noFill/>
        </p:spPr>
        <p:txBody>
          <a:bodyPr wrap="square" rtlCol="0">
            <a:spAutoFit/>
          </a:bodyPr>
          <a:lstStyle/>
          <a:p>
            <a:r>
              <a:rPr lang="en-US" sz="1050" dirty="0"/>
              <a:t>Number of flood events recorded by region between 15 Sep. and 15 Dec 1914-2021</a:t>
            </a:r>
            <a:endParaRPr lang="es-CO" sz="1050" dirty="0"/>
          </a:p>
        </p:txBody>
      </p:sp>
      <p:pic>
        <p:nvPicPr>
          <p:cNvPr id="5" name="Imagen 4">
            <a:extLst>
              <a:ext uri="{FF2B5EF4-FFF2-40B4-BE49-F238E27FC236}">
                <a16:creationId xmlns:a16="http://schemas.microsoft.com/office/drawing/2014/main" id="{81F60022-3599-2A6A-3094-A74DAFED622F}"/>
              </a:ext>
            </a:extLst>
          </p:cNvPr>
          <p:cNvPicPr>
            <a:picLocks noChangeAspect="1"/>
          </p:cNvPicPr>
          <p:nvPr/>
        </p:nvPicPr>
        <p:blipFill>
          <a:blip r:embed="rId2"/>
          <a:stretch>
            <a:fillRect/>
          </a:stretch>
        </p:blipFill>
        <p:spPr>
          <a:xfrm>
            <a:off x="1907791" y="1035250"/>
            <a:ext cx="3391476" cy="4514946"/>
          </a:xfrm>
          <a:prstGeom prst="rect">
            <a:avLst/>
          </a:prstGeom>
        </p:spPr>
      </p:pic>
      <p:pic>
        <p:nvPicPr>
          <p:cNvPr id="10" name="Imagen 9">
            <a:extLst>
              <a:ext uri="{FF2B5EF4-FFF2-40B4-BE49-F238E27FC236}">
                <a16:creationId xmlns:a16="http://schemas.microsoft.com/office/drawing/2014/main" id="{FC04CD5C-6509-E11D-A43E-4FA6A7A9B3E1}"/>
              </a:ext>
            </a:extLst>
          </p:cNvPr>
          <p:cNvPicPr>
            <a:picLocks noChangeAspect="1"/>
          </p:cNvPicPr>
          <p:nvPr/>
        </p:nvPicPr>
        <p:blipFill>
          <a:blip r:embed="rId3"/>
          <a:stretch>
            <a:fillRect/>
          </a:stretch>
        </p:blipFill>
        <p:spPr>
          <a:xfrm>
            <a:off x="7450876" y="1073622"/>
            <a:ext cx="3391476" cy="4425687"/>
          </a:xfrm>
          <a:prstGeom prst="rect">
            <a:avLst/>
          </a:prstGeom>
        </p:spPr>
      </p:pic>
      <p:sp>
        <p:nvSpPr>
          <p:cNvPr id="3" name="CuadroTexto 2">
            <a:extLst>
              <a:ext uri="{FF2B5EF4-FFF2-40B4-BE49-F238E27FC236}">
                <a16:creationId xmlns:a16="http://schemas.microsoft.com/office/drawing/2014/main" id="{B8446502-B522-601E-C946-566A0CBB06E6}"/>
              </a:ext>
            </a:extLst>
          </p:cNvPr>
          <p:cNvSpPr txBox="1"/>
          <p:nvPr/>
        </p:nvSpPr>
        <p:spPr>
          <a:xfrm>
            <a:off x="742995" y="6427113"/>
            <a:ext cx="5721067" cy="430887"/>
          </a:xfrm>
          <a:prstGeom prst="rect">
            <a:avLst/>
          </a:prstGeom>
          <a:noFill/>
        </p:spPr>
        <p:txBody>
          <a:bodyPr wrap="square">
            <a:spAutoFit/>
          </a:bodyPr>
          <a:lstStyle/>
          <a:p>
            <a:pPr algn="just"/>
            <a:r>
              <a:rPr lang="en-US" sz="1050" dirty="0">
                <a:solidFill>
                  <a:schemeClr val="accent3">
                    <a:lumMod val="75000"/>
                  </a:schemeClr>
                </a:solidFill>
                <a:latin typeface="Calibri" panose="020F0502020204030204" pitchFamily="34" charset="0"/>
              </a:rPr>
              <a:t>Source: National Unit for Disaster Risk Management. National Response Plan Report, Second Rainy Season 2022.</a:t>
            </a:r>
            <a:endParaRPr lang="es-CO" sz="1050" dirty="0">
              <a:solidFill>
                <a:schemeClr val="accent3">
                  <a:lumMod val="75000"/>
                </a:schemeClr>
              </a:solidFill>
            </a:endParaRPr>
          </a:p>
        </p:txBody>
      </p:sp>
    </p:spTree>
    <p:extLst>
      <p:ext uri="{BB962C8B-B14F-4D97-AF65-F5344CB8AC3E}">
        <p14:creationId xmlns:p14="http://schemas.microsoft.com/office/powerpoint/2010/main" val="3843714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6089AC97-4254-C528-5EB8-EB2140E1512A}"/>
              </a:ext>
            </a:extLst>
          </p:cNvPr>
          <p:cNvSpPr txBox="1"/>
          <p:nvPr/>
        </p:nvSpPr>
        <p:spPr>
          <a:xfrm>
            <a:off x="2375124" y="124480"/>
            <a:ext cx="8697433" cy="461665"/>
          </a:xfrm>
          <a:prstGeom prst="rect">
            <a:avLst/>
          </a:prstGeom>
          <a:noFill/>
        </p:spPr>
        <p:txBody>
          <a:bodyPr wrap="square" rtlCol="0">
            <a:spAutoFit/>
          </a:bodyPr>
          <a:lstStyle/>
          <a:p>
            <a:pPr lvl="0" algn="just">
              <a:defRPr/>
            </a:pPr>
            <a:r>
              <a:rPr lang="en-US" sz="2400" b="1" dirty="0">
                <a:solidFill>
                  <a:srgbClr val="00B050"/>
                </a:solidFill>
              </a:rPr>
              <a:t>VULNERABILITY AND RISK FROM CLIMATE CHANGE</a:t>
            </a:r>
            <a:r>
              <a:rPr kumimoji="0" lang="es-ES" sz="1800" b="1" i="0" u="none" strike="noStrike" kern="1200" cap="none" spc="0" normalizeH="0" baseline="0" noProof="0" dirty="0">
                <a:ln>
                  <a:noFill/>
                </a:ln>
                <a:solidFill>
                  <a:prstClr val="black"/>
                </a:solidFill>
                <a:effectLst/>
                <a:uLnTx/>
                <a:uFillTx/>
                <a:latin typeface="Arial"/>
                <a:ea typeface="+mn-ea"/>
                <a:cs typeface="+mn-cs"/>
              </a:rPr>
              <a:t> </a:t>
            </a:r>
            <a:endParaRPr kumimoji="0" lang="es-CO" sz="1800" b="1" i="0" u="none" strike="noStrike" kern="1200" cap="none" spc="0" normalizeH="0" baseline="0" noProof="0" dirty="0">
              <a:ln>
                <a:noFill/>
              </a:ln>
              <a:solidFill>
                <a:prstClr val="black"/>
              </a:solidFill>
              <a:effectLst/>
              <a:uLnTx/>
              <a:uFillTx/>
              <a:latin typeface="Arial"/>
              <a:ea typeface="+mn-ea"/>
              <a:cs typeface="+mn-cs"/>
            </a:endParaRPr>
          </a:p>
        </p:txBody>
      </p:sp>
      <p:sp>
        <p:nvSpPr>
          <p:cNvPr id="6" name="CuadroTexto 5">
            <a:extLst>
              <a:ext uri="{FF2B5EF4-FFF2-40B4-BE49-F238E27FC236}">
                <a16:creationId xmlns:a16="http://schemas.microsoft.com/office/drawing/2014/main" id="{3B05F159-E42F-880F-2F4B-9A98354EE97A}"/>
              </a:ext>
            </a:extLst>
          </p:cNvPr>
          <p:cNvSpPr txBox="1"/>
          <p:nvPr/>
        </p:nvSpPr>
        <p:spPr>
          <a:xfrm>
            <a:off x="4942115" y="5065061"/>
            <a:ext cx="6455228" cy="830997"/>
          </a:xfrm>
          <a:prstGeom prst="rect">
            <a:avLst/>
          </a:prstGeom>
          <a:noFill/>
        </p:spPr>
        <p:txBody>
          <a:bodyPr wrap="square" rtlCol="0">
            <a:spAutoFit/>
          </a:bodyPr>
          <a:lstStyle/>
          <a:p>
            <a:r>
              <a:rPr lang="en-US" sz="1200" dirty="0"/>
              <a:t>The Climate Change Risk Index, an analysis carried out by IDEAM and UNDP in 2017, is composed of 3 components of threat, sensitivity and adaptive capacity based on 113 indicators for 6 territorial dimensions corresponding to food security, water resources, biodiversity and ecosystem services, health, human habitat and infrastructure.</a:t>
            </a:r>
            <a:endParaRPr lang="es-CO" sz="1200" dirty="0"/>
          </a:p>
        </p:txBody>
      </p:sp>
      <p:sp>
        <p:nvSpPr>
          <p:cNvPr id="7" name="CuadroTexto 6">
            <a:extLst>
              <a:ext uri="{FF2B5EF4-FFF2-40B4-BE49-F238E27FC236}">
                <a16:creationId xmlns:a16="http://schemas.microsoft.com/office/drawing/2014/main" id="{15AFD44C-92D9-E843-7CA8-ABC0CBF5FBC9}"/>
              </a:ext>
            </a:extLst>
          </p:cNvPr>
          <p:cNvSpPr txBox="1"/>
          <p:nvPr/>
        </p:nvSpPr>
        <p:spPr>
          <a:xfrm>
            <a:off x="794657" y="676308"/>
            <a:ext cx="9775372" cy="523220"/>
          </a:xfrm>
          <a:prstGeom prst="rect">
            <a:avLst/>
          </a:prstGeom>
          <a:noFill/>
        </p:spPr>
        <p:txBody>
          <a:bodyPr wrap="square" rtlCol="0">
            <a:spAutoFit/>
          </a:bodyPr>
          <a:lstStyle>
            <a:defPPr>
              <a:defRPr lang="es-CO"/>
            </a:defPPr>
          </a:lstStyle>
          <a:p>
            <a:r>
              <a:rPr lang="en-US" sz="1400" dirty="0"/>
              <a:t>Colombia faces the challenge of generating better and greater knowledge about climate change, with a view to promoting sound decision-making in risk management and adaptation to the phenomenon.</a:t>
            </a:r>
            <a:endParaRPr lang="es-CO" sz="1400" dirty="0"/>
          </a:p>
        </p:txBody>
      </p:sp>
      <p:pic>
        <p:nvPicPr>
          <p:cNvPr id="12" name="Imagen 11">
            <a:extLst>
              <a:ext uri="{FF2B5EF4-FFF2-40B4-BE49-F238E27FC236}">
                <a16:creationId xmlns:a16="http://schemas.microsoft.com/office/drawing/2014/main" id="{DA4B56FB-E7E9-56B8-9651-7134F2EEB458}"/>
              </a:ext>
            </a:extLst>
          </p:cNvPr>
          <p:cNvPicPr>
            <a:picLocks noChangeAspect="1"/>
          </p:cNvPicPr>
          <p:nvPr/>
        </p:nvPicPr>
        <p:blipFill>
          <a:blip r:embed="rId2"/>
          <a:stretch>
            <a:fillRect/>
          </a:stretch>
        </p:blipFill>
        <p:spPr>
          <a:xfrm>
            <a:off x="794657" y="1529741"/>
            <a:ext cx="4180114" cy="5052080"/>
          </a:xfrm>
          <a:prstGeom prst="rect">
            <a:avLst/>
          </a:prstGeom>
        </p:spPr>
      </p:pic>
      <p:sp>
        <p:nvSpPr>
          <p:cNvPr id="15" name="CuadroTexto 14">
            <a:extLst>
              <a:ext uri="{FF2B5EF4-FFF2-40B4-BE49-F238E27FC236}">
                <a16:creationId xmlns:a16="http://schemas.microsoft.com/office/drawing/2014/main" id="{C9C3789A-BDCF-0970-3EC2-11C2CF182144}"/>
              </a:ext>
            </a:extLst>
          </p:cNvPr>
          <p:cNvSpPr txBox="1"/>
          <p:nvPr/>
        </p:nvSpPr>
        <p:spPr>
          <a:xfrm>
            <a:off x="4942115" y="6412191"/>
            <a:ext cx="8620760" cy="261610"/>
          </a:xfrm>
          <a:prstGeom prst="rect">
            <a:avLst/>
          </a:prstGeom>
          <a:noFill/>
        </p:spPr>
        <p:txBody>
          <a:bodyPr wrap="square" rtlCol="0">
            <a:spAutoFit/>
          </a:bodyPr>
          <a:lstStyle/>
          <a:p>
            <a:r>
              <a:rPr lang="es-419" sz="1100" dirty="0" err="1"/>
              <a:t>Sources</a:t>
            </a:r>
            <a:r>
              <a:rPr lang="es-419" sz="1100" dirty="0"/>
              <a:t>: </a:t>
            </a:r>
            <a:r>
              <a:rPr lang="es-419" sz="1100" dirty="0" err="1"/>
              <a:t>Climate</a:t>
            </a:r>
            <a:r>
              <a:rPr lang="es-419" sz="1100" dirty="0"/>
              <a:t> </a:t>
            </a:r>
            <a:r>
              <a:rPr lang="es-419" sz="1100" dirty="0" err="1"/>
              <a:t>Risk</a:t>
            </a:r>
            <a:r>
              <a:rPr lang="es-419" sz="1100" dirty="0"/>
              <a:t> (IDEAM et al., 2017. RESULTS - IDEAM (cambioclimatico.gov.co)</a:t>
            </a:r>
            <a:r>
              <a:rPr lang="es-CO" sz="1100" b="0" i="0" dirty="0">
                <a:solidFill>
                  <a:srgbClr val="555555"/>
                </a:solidFill>
                <a:effectLst/>
                <a:latin typeface="Helvetica Neue"/>
              </a:rPr>
              <a:t> </a:t>
            </a:r>
            <a:endParaRPr lang="es-CO" sz="1100" dirty="0"/>
          </a:p>
        </p:txBody>
      </p:sp>
      <p:pic>
        <p:nvPicPr>
          <p:cNvPr id="5" name="Imagen 4">
            <a:extLst>
              <a:ext uri="{FF2B5EF4-FFF2-40B4-BE49-F238E27FC236}">
                <a16:creationId xmlns:a16="http://schemas.microsoft.com/office/drawing/2014/main" id="{A3B2EE9F-9B28-2B2E-9C87-37201364F498}"/>
              </a:ext>
            </a:extLst>
          </p:cNvPr>
          <p:cNvPicPr>
            <a:picLocks noChangeAspect="1"/>
          </p:cNvPicPr>
          <p:nvPr/>
        </p:nvPicPr>
        <p:blipFill>
          <a:blip r:embed="rId3"/>
          <a:stretch>
            <a:fillRect/>
          </a:stretch>
        </p:blipFill>
        <p:spPr>
          <a:xfrm>
            <a:off x="6794596" y="1529741"/>
            <a:ext cx="3712029" cy="2097935"/>
          </a:xfrm>
          <a:prstGeom prst="rect">
            <a:avLst/>
          </a:prstGeom>
        </p:spPr>
      </p:pic>
      <p:pic>
        <p:nvPicPr>
          <p:cNvPr id="9" name="Imagen 8">
            <a:extLst>
              <a:ext uri="{FF2B5EF4-FFF2-40B4-BE49-F238E27FC236}">
                <a16:creationId xmlns:a16="http://schemas.microsoft.com/office/drawing/2014/main" id="{AA611D0B-6BE2-8ED6-2D88-C750E8E7577C}"/>
              </a:ext>
            </a:extLst>
          </p:cNvPr>
          <p:cNvPicPr>
            <a:picLocks noChangeAspect="1"/>
          </p:cNvPicPr>
          <p:nvPr/>
        </p:nvPicPr>
        <p:blipFill>
          <a:blip r:embed="rId4"/>
          <a:stretch>
            <a:fillRect/>
          </a:stretch>
        </p:blipFill>
        <p:spPr>
          <a:xfrm>
            <a:off x="6794596" y="3658505"/>
            <a:ext cx="3712030" cy="1185403"/>
          </a:xfrm>
          <a:prstGeom prst="rect">
            <a:avLst/>
          </a:prstGeom>
        </p:spPr>
      </p:pic>
    </p:spTree>
    <p:extLst>
      <p:ext uri="{BB962C8B-B14F-4D97-AF65-F5344CB8AC3E}">
        <p14:creationId xmlns:p14="http://schemas.microsoft.com/office/powerpoint/2010/main" val="4087382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6089AC97-4254-C528-5EB8-EB2140E1512A}"/>
              </a:ext>
            </a:extLst>
          </p:cNvPr>
          <p:cNvSpPr txBox="1"/>
          <p:nvPr/>
        </p:nvSpPr>
        <p:spPr>
          <a:xfrm>
            <a:off x="3452810" y="87725"/>
            <a:ext cx="6300789" cy="461665"/>
          </a:xfrm>
          <a:prstGeom prst="rect">
            <a:avLst/>
          </a:prstGeom>
          <a:noFill/>
        </p:spPr>
        <p:txBody>
          <a:bodyPr wrap="square" rtlCol="0">
            <a:spAutoFit/>
          </a:bodyPr>
          <a:lstStyle/>
          <a:p>
            <a:pPr lvl="1" algn="just">
              <a:defRPr/>
            </a:pPr>
            <a:r>
              <a:rPr lang="es-ES" sz="2400" b="1" dirty="0" err="1">
                <a:solidFill>
                  <a:srgbClr val="00B050"/>
                </a:solidFill>
              </a:rPr>
              <a:t>Climate</a:t>
            </a:r>
            <a:r>
              <a:rPr lang="es-ES" sz="2400" b="1" dirty="0">
                <a:solidFill>
                  <a:srgbClr val="00B050"/>
                </a:solidFill>
              </a:rPr>
              <a:t> </a:t>
            </a:r>
            <a:r>
              <a:rPr lang="es-ES" sz="2400" b="1" dirty="0" err="1">
                <a:solidFill>
                  <a:srgbClr val="00B050"/>
                </a:solidFill>
              </a:rPr>
              <a:t>Projections</a:t>
            </a:r>
            <a:r>
              <a:rPr lang="es-ES" sz="2400" b="1" dirty="0">
                <a:solidFill>
                  <a:srgbClr val="00B050"/>
                </a:solidFill>
              </a:rPr>
              <a:t> 2040</a:t>
            </a:r>
            <a:r>
              <a:rPr kumimoji="0" lang="es-ES" sz="1800" b="1" i="0" u="none" strike="noStrike" kern="1200" cap="none" spc="0" normalizeH="0" baseline="0" noProof="0" dirty="0">
                <a:ln>
                  <a:noFill/>
                </a:ln>
                <a:solidFill>
                  <a:prstClr val="black"/>
                </a:solidFill>
                <a:effectLst/>
                <a:uLnTx/>
                <a:uFillTx/>
                <a:latin typeface="Arial"/>
                <a:ea typeface="+mn-ea"/>
                <a:cs typeface="+mn-cs"/>
              </a:rPr>
              <a:t> </a:t>
            </a:r>
            <a:endParaRPr kumimoji="0" lang="es-CO" sz="1800" b="1" i="0" u="none" strike="noStrike" kern="1200" cap="none" spc="0" normalizeH="0" baseline="0" noProof="0" dirty="0">
              <a:ln>
                <a:noFill/>
              </a:ln>
              <a:solidFill>
                <a:prstClr val="black"/>
              </a:solidFill>
              <a:effectLst/>
              <a:uLnTx/>
              <a:uFillTx/>
              <a:latin typeface="Arial"/>
              <a:ea typeface="+mn-ea"/>
              <a:cs typeface="+mn-cs"/>
            </a:endParaRPr>
          </a:p>
        </p:txBody>
      </p:sp>
      <p:pic>
        <p:nvPicPr>
          <p:cNvPr id="4" name="Imagen 3">
            <a:extLst>
              <a:ext uri="{FF2B5EF4-FFF2-40B4-BE49-F238E27FC236}">
                <a16:creationId xmlns:a16="http://schemas.microsoft.com/office/drawing/2014/main" id="{4251FA86-ED04-559F-A9C4-739F95C92C33}"/>
              </a:ext>
            </a:extLst>
          </p:cNvPr>
          <p:cNvPicPr>
            <a:picLocks noChangeAspect="1"/>
          </p:cNvPicPr>
          <p:nvPr/>
        </p:nvPicPr>
        <p:blipFill rotWithShape="1">
          <a:blip r:embed="rId2"/>
          <a:srcRect t="71245"/>
          <a:stretch/>
        </p:blipFill>
        <p:spPr>
          <a:xfrm>
            <a:off x="1104218" y="5356781"/>
            <a:ext cx="3246665" cy="1261851"/>
          </a:xfrm>
          <a:prstGeom prst="rect">
            <a:avLst/>
          </a:prstGeom>
        </p:spPr>
      </p:pic>
      <p:pic>
        <p:nvPicPr>
          <p:cNvPr id="8" name="Imagen 7">
            <a:extLst>
              <a:ext uri="{FF2B5EF4-FFF2-40B4-BE49-F238E27FC236}">
                <a16:creationId xmlns:a16="http://schemas.microsoft.com/office/drawing/2014/main" id="{A7B1F5E8-E1FD-9329-1D1A-AF5A61A1199B}"/>
              </a:ext>
            </a:extLst>
          </p:cNvPr>
          <p:cNvPicPr>
            <a:picLocks noChangeAspect="1"/>
          </p:cNvPicPr>
          <p:nvPr/>
        </p:nvPicPr>
        <p:blipFill>
          <a:blip r:embed="rId3"/>
          <a:stretch>
            <a:fillRect/>
          </a:stretch>
        </p:blipFill>
        <p:spPr>
          <a:xfrm>
            <a:off x="4492398" y="955222"/>
            <a:ext cx="3922259" cy="5553641"/>
          </a:xfrm>
          <a:prstGeom prst="rect">
            <a:avLst/>
          </a:prstGeom>
        </p:spPr>
      </p:pic>
      <p:sp>
        <p:nvSpPr>
          <p:cNvPr id="9" name="CuadroTexto 8">
            <a:extLst>
              <a:ext uri="{FF2B5EF4-FFF2-40B4-BE49-F238E27FC236}">
                <a16:creationId xmlns:a16="http://schemas.microsoft.com/office/drawing/2014/main" id="{98E11D55-E22C-F8D1-7E6A-D9BB84B91F2A}"/>
              </a:ext>
            </a:extLst>
          </p:cNvPr>
          <p:cNvSpPr txBox="1"/>
          <p:nvPr/>
        </p:nvSpPr>
        <p:spPr>
          <a:xfrm>
            <a:off x="8556172" y="1388649"/>
            <a:ext cx="2920094" cy="1815882"/>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585757"/>
                </a:solidFill>
              </a:rPr>
              <a:t>The greatest increases in temperature would occur in the Andean region, especially for regions such as </a:t>
            </a:r>
            <a:r>
              <a:rPr lang="en-US" sz="1400" dirty="0" err="1">
                <a:solidFill>
                  <a:srgbClr val="585757"/>
                </a:solidFill>
              </a:rPr>
              <a:t>Sogamoso</a:t>
            </a:r>
            <a:r>
              <a:rPr lang="en-US" sz="1400" dirty="0">
                <a:solidFill>
                  <a:srgbClr val="585757"/>
                </a:solidFill>
              </a:rPr>
              <a:t>, Catatumbo, Medio Magdalena and </a:t>
            </a:r>
            <a:r>
              <a:rPr lang="en-US" sz="1400" dirty="0" err="1">
                <a:solidFill>
                  <a:srgbClr val="585757"/>
                </a:solidFill>
              </a:rPr>
              <a:t>Sabana</a:t>
            </a:r>
            <a:r>
              <a:rPr lang="en-US" sz="1400" dirty="0">
                <a:solidFill>
                  <a:srgbClr val="585757"/>
                </a:solidFill>
              </a:rPr>
              <a:t> de Bogotá; as well as in the eastern part of the country.</a:t>
            </a:r>
            <a:endParaRPr lang="es-CO" sz="1400" dirty="0"/>
          </a:p>
        </p:txBody>
      </p:sp>
      <p:pic>
        <p:nvPicPr>
          <p:cNvPr id="11" name="Imagen 10">
            <a:extLst>
              <a:ext uri="{FF2B5EF4-FFF2-40B4-BE49-F238E27FC236}">
                <a16:creationId xmlns:a16="http://schemas.microsoft.com/office/drawing/2014/main" id="{D6715183-7508-47FF-3D89-8090C9B6E9DF}"/>
              </a:ext>
            </a:extLst>
          </p:cNvPr>
          <p:cNvPicPr>
            <a:picLocks noChangeAspect="1"/>
          </p:cNvPicPr>
          <p:nvPr/>
        </p:nvPicPr>
        <p:blipFill>
          <a:blip r:embed="rId4"/>
          <a:stretch>
            <a:fillRect/>
          </a:stretch>
        </p:blipFill>
        <p:spPr>
          <a:xfrm>
            <a:off x="969493" y="1153886"/>
            <a:ext cx="3381390" cy="4077296"/>
          </a:xfrm>
          <a:prstGeom prst="rect">
            <a:avLst/>
          </a:prstGeom>
        </p:spPr>
      </p:pic>
      <p:sp>
        <p:nvSpPr>
          <p:cNvPr id="16" name="CuadroTexto 15">
            <a:extLst>
              <a:ext uri="{FF2B5EF4-FFF2-40B4-BE49-F238E27FC236}">
                <a16:creationId xmlns:a16="http://schemas.microsoft.com/office/drawing/2014/main" id="{32B93DC1-8AD1-F0CD-184C-F6AA2527EF4C}"/>
              </a:ext>
            </a:extLst>
          </p:cNvPr>
          <p:cNvSpPr txBox="1"/>
          <p:nvPr/>
        </p:nvSpPr>
        <p:spPr>
          <a:xfrm>
            <a:off x="8556172" y="3547143"/>
            <a:ext cx="2920094" cy="2246769"/>
          </a:xfrm>
          <a:prstGeom prst="rect">
            <a:avLst/>
          </a:prstGeom>
          <a:noFill/>
        </p:spPr>
        <p:txBody>
          <a:bodyPr wrap="square">
            <a:spAutoFit/>
          </a:bodyPr>
          <a:lstStyle/>
          <a:p>
            <a:pPr marL="285750" indent="-285750">
              <a:buFont typeface="Arial" panose="020B0604020202020204" pitchFamily="34" charset="0"/>
              <a:buChar char="•"/>
            </a:pPr>
            <a:r>
              <a:rPr lang="en-US" sz="1400" dirty="0">
                <a:solidFill>
                  <a:srgbClr val="585757"/>
                </a:solidFill>
              </a:rPr>
              <a:t>Significant increases in precipitation would occur in the Andean region between the months of June and November; while the same situation could occur in the north of the </a:t>
            </a:r>
            <a:r>
              <a:rPr lang="en-US" sz="1400" dirty="0" err="1">
                <a:solidFill>
                  <a:srgbClr val="585757"/>
                </a:solidFill>
              </a:rPr>
              <a:t>Orinoquia</a:t>
            </a:r>
            <a:r>
              <a:rPr lang="en-US" sz="1400" dirty="0">
                <a:solidFill>
                  <a:srgbClr val="585757"/>
                </a:solidFill>
              </a:rPr>
              <a:t> and south of the Caribbean region but for the March-April-May quarter.</a:t>
            </a:r>
            <a:endParaRPr lang="es-CO" sz="1400" dirty="0"/>
          </a:p>
        </p:txBody>
      </p:sp>
    </p:spTree>
    <p:extLst>
      <p:ext uri="{BB962C8B-B14F-4D97-AF65-F5344CB8AC3E}">
        <p14:creationId xmlns:p14="http://schemas.microsoft.com/office/powerpoint/2010/main" val="1553401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364CB7-03B9-9609-4D48-3F1D238DEC3B}"/>
              </a:ext>
            </a:extLst>
          </p:cNvPr>
          <p:cNvSpPr>
            <a:spLocks noGrp="1"/>
          </p:cNvSpPr>
          <p:nvPr>
            <p:ph type="title"/>
          </p:nvPr>
        </p:nvSpPr>
        <p:spPr>
          <a:xfrm>
            <a:off x="725572" y="109728"/>
            <a:ext cx="10210800" cy="481916"/>
          </a:xfrm>
        </p:spPr>
        <p:txBody>
          <a:bodyPr>
            <a:normAutofit fontScale="90000"/>
          </a:bodyPr>
          <a:lstStyle/>
          <a:p>
            <a:r>
              <a:rPr lang="es-CO" dirty="0" err="1"/>
              <a:t>Resources</a:t>
            </a:r>
            <a:r>
              <a:rPr lang="es-CO" dirty="0"/>
              <a:t> - 2024 </a:t>
            </a:r>
            <a:r>
              <a:rPr lang="es-CO" dirty="0" err="1"/>
              <a:t>Estimate</a:t>
            </a:r>
            <a:endParaRPr lang="es-CO" dirty="0"/>
          </a:p>
        </p:txBody>
      </p:sp>
      <p:graphicFrame>
        <p:nvGraphicFramePr>
          <p:cNvPr id="4" name="Diagrama 3">
            <a:extLst>
              <a:ext uri="{FF2B5EF4-FFF2-40B4-BE49-F238E27FC236}">
                <a16:creationId xmlns:a16="http://schemas.microsoft.com/office/drawing/2014/main" id="{935EFDA8-052E-A918-3A84-B0B2E46B88FF}"/>
              </a:ext>
            </a:extLst>
          </p:cNvPr>
          <p:cNvGraphicFramePr/>
          <p:nvPr>
            <p:extLst>
              <p:ext uri="{D42A27DB-BD31-4B8C-83A1-F6EECF244321}">
                <p14:modId xmlns:p14="http://schemas.microsoft.com/office/powerpoint/2010/main" val="724343778"/>
              </p:ext>
            </p:extLst>
          </p:nvPr>
        </p:nvGraphicFramePr>
        <p:xfrm>
          <a:off x="591864" y="1230372"/>
          <a:ext cx="11314028" cy="5128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31769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a 21">
            <a:extLst>
              <a:ext uri="{FF2B5EF4-FFF2-40B4-BE49-F238E27FC236}">
                <a16:creationId xmlns:a16="http://schemas.microsoft.com/office/drawing/2014/main" id="{B5749986-AD9E-F803-CF9B-A29D524C31B5}"/>
              </a:ext>
            </a:extLst>
          </p:cNvPr>
          <p:cNvGraphicFramePr>
            <a:graphicFrameLocks noGrp="1"/>
          </p:cNvGraphicFramePr>
          <p:nvPr>
            <p:extLst>
              <p:ext uri="{D42A27DB-BD31-4B8C-83A1-F6EECF244321}">
                <p14:modId xmlns:p14="http://schemas.microsoft.com/office/powerpoint/2010/main" val="2775557235"/>
              </p:ext>
            </p:extLst>
          </p:nvPr>
        </p:nvGraphicFramePr>
        <p:xfrm>
          <a:off x="699889" y="4329119"/>
          <a:ext cx="3422197" cy="2378912"/>
        </p:xfrm>
        <a:graphic>
          <a:graphicData uri="http://schemas.openxmlformats.org/drawingml/2006/table">
            <a:tbl>
              <a:tblPr/>
              <a:tblGrid>
                <a:gridCol w="1132058">
                  <a:extLst>
                    <a:ext uri="{9D8B030D-6E8A-4147-A177-3AD203B41FA5}">
                      <a16:colId xmlns:a16="http://schemas.microsoft.com/office/drawing/2014/main" val="3183711309"/>
                    </a:ext>
                  </a:extLst>
                </a:gridCol>
                <a:gridCol w="1171093">
                  <a:extLst>
                    <a:ext uri="{9D8B030D-6E8A-4147-A177-3AD203B41FA5}">
                      <a16:colId xmlns:a16="http://schemas.microsoft.com/office/drawing/2014/main" val="1719173057"/>
                    </a:ext>
                  </a:extLst>
                </a:gridCol>
                <a:gridCol w="1119046">
                  <a:extLst>
                    <a:ext uri="{9D8B030D-6E8A-4147-A177-3AD203B41FA5}">
                      <a16:colId xmlns:a16="http://schemas.microsoft.com/office/drawing/2014/main" val="3630172510"/>
                    </a:ext>
                  </a:extLst>
                </a:gridCol>
              </a:tblGrid>
              <a:tr h="139936">
                <a:tc>
                  <a:txBody>
                    <a:bodyPr/>
                    <a:lstStyle/>
                    <a:p>
                      <a:pPr algn="ctr" fontAlgn="b"/>
                      <a:r>
                        <a:rPr lang="es-CO" sz="900" b="1" i="0" u="none" strike="noStrike">
                          <a:solidFill>
                            <a:srgbClr val="000000"/>
                          </a:solidFill>
                          <a:effectLst/>
                          <a:latin typeface="Calibri"/>
                        </a:rPr>
                        <a:t>Municipio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s-CO" sz="900" b="1" i="0" u="none" strike="noStrike">
                          <a:solidFill>
                            <a:srgbClr val="000000"/>
                          </a:solidFill>
                          <a:effectLst/>
                          <a:latin typeface="Calibri"/>
                        </a:rPr>
                        <a:t>Mon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s-CO" sz="900" b="1" i="0" u="none" strike="noStrike">
                          <a:solidFill>
                            <a:srgbClr val="000000"/>
                          </a:solidFill>
                          <a:effectLst/>
                          <a:latin typeface="Calibri"/>
                        </a:rPr>
                        <a:t>No de Proyecto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30169280"/>
                  </a:ext>
                </a:extLst>
              </a:tr>
              <a:tr h="139936">
                <a:tc>
                  <a:txBody>
                    <a:bodyPr/>
                    <a:lstStyle/>
                    <a:p>
                      <a:pPr algn="ctr" fontAlgn="b"/>
                      <a:r>
                        <a:rPr lang="es-CO" sz="900" b="1" i="0" u="none" strike="noStrike">
                          <a:solidFill>
                            <a:srgbClr val="000000"/>
                          </a:solidFill>
                          <a:effectLst/>
                          <a:latin typeface="Calibri"/>
                        </a:rPr>
                        <a:t>Uribi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5710571"/>
                  </a:ext>
                </a:extLst>
              </a:tr>
              <a:tr h="139936">
                <a:tc>
                  <a:txBody>
                    <a:bodyPr/>
                    <a:lstStyle/>
                    <a:p>
                      <a:pPr algn="ctr" fontAlgn="b"/>
                      <a:r>
                        <a:rPr lang="es-CO" sz="900" b="1" i="0" u="none" strike="noStrike">
                          <a:solidFill>
                            <a:srgbClr val="000000"/>
                          </a:solidFill>
                          <a:effectLst/>
                          <a:latin typeface="Calibri"/>
                        </a:rPr>
                        <a:t>Guam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818148"/>
                  </a:ext>
                </a:extLst>
              </a:tr>
              <a:tr h="139936">
                <a:tc>
                  <a:txBody>
                    <a:bodyPr/>
                    <a:lstStyle/>
                    <a:p>
                      <a:pPr algn="ctr" fontAlgn="b"/>
                      <a:r>
                        <a:rPr lang="es-CO" sz="900" b="1" i="0" u="none" strike="noStrike">
                          <a:solidFill>
                            <a:srgbClr val="000000"/>
                          </a:solidFill>
                          <a:effectLst/>
                          <a:latin typeface="Calibri"/>
                        </a:rPr>
                        <a:t>Puerto Wilch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8274719"/>
                  </a:ext>
                </a:extLst>
              </a:tr>
              <a:tr h="139936">
                <a:tc>
                  <a:txBody>
                    <a:bodyPr/>
                    <a:lstStyle/>
                    <a:p>
                      <a:pPr algn="ctr" fontAlgn="b"/>
                      <a:r>
                        <a:rPr lang="es-CO" sz="900" b="1" i="0" u="none" strike="noStrike">
                          <a:solidFill>
                            <a:srgbClr val="000000"/>
                          </a:solidFill>
                          <a:effectLst/>
                          <a:latin typeface="Calibri"/>
                        </a:rPr>
                        <a:t>Castilla la Nuev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9940708"/>
                  </a:ext>
                </a:extLst>
              </a:tr>
              <a:tr h="139936">
                <a:tc>
                  <a:txBody>
                    <a:bodyPr/>
                    <a:lstStyle/>
                    <a:p>
                      <a:pPr algn="ctr" fontAlgn="b"/>
                      <a:r>
                        <a:rPr lang="es-CO" sz="900" b="1" i="0" u="none" strike="noStrike">
                          <a:solidFill>
                            <a:srgbClr val="000000"/>
                          </a:solidFill>
                          <a:effectLst/>
                          <a:latin typeface="Calibri"/>
                        </a:rPr>
                        <a:t>Cartagena de Indi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832623"/>
                  </a:ext>
                </a:extLst>
              </a:tr>
              <a:tr h="139936">
                <a:tc>
                  <a:txBody>
                    <a:bodyPr/>
                    <a:lstStyle/>
                    <a:p>
                      <a:pPr algn="ctr" fontAlgn="b"/>
                      <a:r>
                        <a:rPr lang="es-CO" sz="900" b="1" i="0" u="none" strike="noStrike">
                          <a:solidFill>
                            <a:srgbClr val="000000"/>
                          </a:solidFill>
                          <a:effectLst/>
                          <a:latin typeface="Calibri"/>
                        </a:rPr>
                        <a:t>Villavicenc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4767249"/>
                  </a:ext>
                </a:extLst>
              </a:tr>
              <a:tr h="139936">
                <a:tc>
                  <a:txBody>
                    <a:bodyPr/>
                    <a:lstStyle/>
                    <a:p>
                      <a:pPr algn="ctr" fontAlgn="b"/>
                      <a:r>
                        <a:rPr lang="es-CO" sz="900" b="1" i="0" u="none" strike="noStrike">
                          <a:solidFill>
                            <a:srgbClr val="000000"/>
                          </a:solidFill>
                          <a:effectLst/>
                          <a:latin typeface="Calibri"/>
                        </a:rPr>
                        <a:t>Sarave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4327334"/>
                  </a:ext>
                </a:extLst>
              </a:tr>
              <a:tr h="139936">
                <a:tc>
                  <a:txBody>
                    <a:bodyPr/>
                    <a:lstStyle/>
                    <a:p>
                      <a:pPr algn="ctr" fontAlgn="b"/>
                      <a:r>
                        <a:rPr lang="es-CO" sz="900" b="1" i="0" u="none" strike="noStrike">
                          <a:solidFill>
                            <a:srgbClr val="000000"/>
                          </a:solidFill>
                          <a:effectLst/>
                          <a:latin typeface="Calibri"/>
                        </a:rPr>
                        <a:t>Puerto Gait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9887620"/>
                  </a:ext>
                </a:extLst>
              </a:tr>
              <a:tr h="139936">
                <a:tc>
                  <a:txBody>
                    <a:bodyPr/>
                    <a:lstStyle/>
                    <a:p>
                      <a:pPr algn="ctr" fontAlgn="b"/>
                      <a:r>
                        <a:rPr lang="es-CO" sz="900" b="1" i="0" u="none" strike="noStrike">
                          <a:solidFill>
                            <a:srgbClr val="000000"/>
                          </a:solidFill>
                          <a:effectLst/>
                          <a:latin typeface="Calibri"/>
                        </a:rPr>
                        <a:t>Toled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4243164"/>
                  </a:ext>
                </a:extLst>
              </a:tr>
              <a:tr h="139936">
                <a:tc>
                  <a:txBody>
                    <a:bodyPr/>
                    <a:lstStyle/>
                    <a:p>
                      <a:pPr algn="ctr" fontAlgn="b"/>
                      <a:r>
                        <a:rPr lang="es-CO" sz="900" b="1" i="0" u="none" strike="noStrike">
                          <a:solidFill>
                            <a:srgbClr val="000000"/>
                          </a:solidFill>
                          <a:effectLst/>
                          <a:latin typeface="Calibri"/>
                        </a:rPr>
                        <a:t>Yop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1206912"/>
                  </a:ext>
                </a:extLst>
              </a:tr>
              <a:tr h="139936">
                <a:tc>
                  <a:txBody>
                    <a:bodyPr/>
                    <a:lstStyle/>
                    <a:p>
                      <a:pPr algn="ctr" fontAlgn="b"/>
                      <a:r>
                        <a:rPr lang="es-CO" sz="900" b="1" i="0" u="none" strike="noStrike">
                          <a:solidFill>
                            <a:srgbClr val="000000"/>
                          </a:solidFill>
                          <a:effectLst/>
                          <a:latin typeface="Calibri"/>
                        </a:rPr>
                        <a:t>San André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4686033"/>
                  </a:ext>
                </a:extLst>
              </a:tr>
              <a:tr h="139936">
                <a:tc>
                  <a:txBody>
                    <a:bodyPr/>
                    <a:lstStyle/>
                    <a:p>
                      <a:pPr algn="ctr" fontAlgn="b"/>
                      <a:r>
                        <a:rPr lang="es-CO" sz="900" b="1" i="0" u="none" strike="noStrike">
                          <a:solidFill>
                            <a:srgbClr val="000000"/>
                          </a:solidFill>
                          <a:effectLst/>
                          <a:latin typeface="Calibri"/>
                        </a:rPr>
                        <a:t>Arauc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8649648"/>
                  </a:ext>
                </a:extLst>
              </a:tr>
              <a:tr h="139936">
                <a:tc>
                  <a:txBody>
                    <a:bodyPr/>
                    <a:lstStyle/>
                    <a:p>
                      <a:pPr algn="ctr" fontAlgn="b"/>
                      <a:r>
                        <a:rPr lang="es-CO" sz="900" b="1" i="0" u="none" strike="noStrike">
                          <a:solidFill>
                            <a:srgbClr val="000000"/>
                          </a:solidFill>
                          <a:effectLst/>
                          <a:latin typeface="Calibri"/>
                        </a:rPr>
                        <a:t>Acací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6836101"/>
                  </a:ext>
                </a:extLst>
              </a:tr>
              <a:tr h="139936">
                <a:tc>
                  <a:txBody>
                    <a:bodyPr/>
                    <a:lstStyle/>
                    <a:p>
                      <a:pPr algn="ctr" fontAlgn="b"/>
                      <a:r>
                        <a:rPr lang="es-CO" sz="900" b="1" i="0" u="none" strike="noStrike">
                          <a:solidFill>
                            <a:srgbClr val="000000"/>
                          </a:solidFill>
                          <a:effectLst/>
                          <a:latin typeface="Calibri"/>
                        </a:rPr>
                        <a:t>Aguazu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900508"/>
                  </a:ext>
                </a:extLst>
              </a:tr>
              <a:tr h="139936">
                <a:tc>
                  <a:txBody>
                    <a:bodyPr/>
                    <a:lstStyle/>
                    <a:p>
                      <a:pPr algn="ctr" fontAlgn="b"/>
                      <a:r>
                        <a:rPr lang="es-CO" sz="900" b="1" i="0" u="none" strike="noStrike">
                          <a:solidFill>
                            <a:srgbClr val="000000"/>
                          </a:solidFill>
                          <a:effectLst/>
                          <a:latin typeface="Calibri"/>
                        </a:rPr>
                        <a:t>Tibú</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9501708"/>
                  </a:ext>
                </a:extLst>
              </a:tr>
              <a:tr h="139936">
                <a:tc>
                  <a:txBody>
                    <a:bodyPr/>
                    <a:lstStyle/>
                    <a:p>
                      <a:pPr algn="ctr" fontAlgn="b"/>
                      <a:r>
                        <a:rPr lang="es-CO" sz="900" b="1" i="0" u="none" strike="noStrike">
                          <a:solidFill>
                            <a:srgbClr val="000000"/>
                          </a:solidFill>
                          <a:effectLst/>
                          <a:latin typeface="Calibri"/>
                        </a:rPr>
                        <a:t>Puerto Boyac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a:solidFill>
                            <a:srgbClr val="000000"/>
                          </a:solidFill>
                          <a:effectLst/>
                          <a:latin typeface="Calibri"/>
                        </a:rPr>
                        <a:t>$ 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900" b="0" i="0" u="none" strike="noStrike" dirty="0">
                          <a:solidFill>
                            <a:srgbClr val="000000"/>
                          </a:solidFill>
                          <a:effectLst/>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8930775"/>
                  </a:ext>
                </a:extLst>
              </a:tr>
            </a:tbl>
          </a:graphicData>
        </a:graphic>
      </p:graphicFrame>
      <p:sp>
        <p:nvSpPr>
          <p:cNvPr id="4" name="CuadroTexto 3">
            <a:extLst>
              <a:ext uri="{FF2B5EF4-FFF2-40B4-BE49-F238E27FC236}">
                <a16:creationId xmlns:a16="http://schemas.microsoft.com/office/drawing/2014/main" id="{236C2A87-26FB-B3C4-6524-27342C42514E}"/>
              </a:ext>
            </a:extLst>
          </p:cNvPr>
          <p:cNvSpPr txBox="1"/>
          <p:nvPr/>
        </p:nvSpPr>
        <p:spPr>
          <a:xfrm>
            <a:off x="9242767" y="2477757"/>
            <a:ext cx="2552832" cy="1938992"/>
          </a:xfrm>
          <a:prstGeom prst="rect">
            <a:avLst/>
          </a:prstGeom>
          <a:noFill/>
        </p:spPr>
        <p:txBody>
          <a:bodyPr wrap="square" rtlCol="0">
            <a:spAutoFit/>
          </a:bodyPr>
          <a:lstStyle/>
          <a:p>
            <a:pPr marL="285750" indent="-285750">
              <a:buFont typeface="Arial" panose="020B0604020202020204" pitchFamily="34" charset="0"/>
              <a:buChar char="•"/>
            </a:pPr>
            <a:r>
              <a:rPr lang="en-US" sz="1200" dirty="0"/>
              <a:t>Emergency response has increased from 2018 to 2022, being grouped into two large categories: support with yellow machinery in Meta and Casanare and humanitarian aid through kits and markets, with more than 130 thousand people assisted in 8 departments.</a:t>
            </a:r>
            <a:endParaRPr lang="es-CO" sz="1200" dirty="0"/>
          </a:p>
        </p:txBody>
      </p:sp>
      <p:sp>
        <p:nvSpPr>
          <p:cNvPr id="5" name="CuadroTexto 4">
            <a:extLst>
              <a:ext uri="{FF2B5EF4-FFF2-40B4-BE49-F238E27FC236}">
                <a16:creationId xmlns:a16="http://schemas.microsoft.com/office/drawing/2014/main" id="{59548B79-E27D-889C-F35B-5AFEB60B0084}"/>
              </a:ext>
            </a:extLst>
          </p:cNvPr>
          <p:cNvSpPr txBox="1"/>
          <p:nvPr/>
        </p:nvSpPr>
        <p:spPr>
          <a:xfrm>
            <a:off x="9242766" y="4514303"/>
            <a:ext cx="2394857" cy="1200329"/>
          </a:xfrm>
          <a:prstGeom prst="rect">
            <a:avLst/>
          </a:prstGeom>
          <a:noFill/>
        </p:spPr>
        <p:txBody>
          <a:bodyPr wrap="square" rtlCol="0">
            <a:spAutoFit/>
          </a:bodyPr>
          <a:lstStyle/>
          <a:p>
            <a:pPr marL="285750" indent="-285750">
              <a:buFont typeface="Arial" panose="020B0604020202020204" pitchFamily="34" charset="0"/>
              <a:buChar char="•"/>
            </a:pPr>
            <a:r>
              <a:rPr lang="en-US" sz="1200" dirty="0"/>
              <a:t>In the period analyzed, the departments with the most attention have been Meta, La Guajira and Bolívar with a total invested of approximately $7.8 billion.</a:t>
            </a:r>
            <a:endParaRPr lang="es-CO" sz="1200" dirty="0"/>
          </a:p>
        </p:txBody>
      </p:sp>
      <p:pic>
        <p:nvPicPr>
          <p:cNvPr id="6" name="Imagen 5">
            <a:extLst>
              <a:ext uri="{FF2B5EF4-FFF2-40B4-BE49-F238E27FC236}">
                <a16:creationId xmlns:a16="http://schemas.microsoft.com/office/drawing/2014/main" id="{2576130A-9BB5-C36C-6501-9212E896D26B}"/>
              </a:ext>
            </a:extLst>
          </p:cNvPr>
          <p:cNvPicPr>
            <a:picLocks noChangeAspect="1"/>
          </p:cNvPicPr>
          <p:nvPr/>
        </p:nvPicPr>
        <p:blipFill>
          <a:blip r:embed="rId2"/>
          <a:stretch>
            <a:fillRect/>
          </a:stretch>
        </p:blipFill>
        <p:spPr>
          <a:xfrm>
            <a:off x="699889" y="2151324"/>
            <a:ext cx="3420631" cy="2080759"/>
          </a:xfrm>
          <a:prstGeom prst="rect">
            <a:avLst/>
          </a:prstGeom>
        </p:spPr>
      </p:pic>
      <p:pic>
        <p:nvPicPr>
          <p:cNvPr id="7" name="Imagen 6">
            <a:extLst>
              <a:ext uri="{FF2B5EF4-FFF2-40B4-BE49-F238E27FC236}">
                <a16:creationId xmlns:a16="http://schemas.microsoft.com/office/drawing/2014/main" id="{8F04E762-E0FD-5531-0DFE-79829B40D732}"/>
              </a:ext>
            </a:extLst>
          </p:cNvPr>
          <p:cNvPicPr>
            <a:picLocks noChangeAspect="1"/>
          </p:cNvPicPr>
          <p:nvPr/>
        </p:nvPicPr>
        <p:blipFill rotWithShape="1">
          <a:blip r:embed="rId3"/>
          <a:srcRect t="4528" b="197"/>
          <a:stretch/>
        </p:blipFill>
        <p:spPr>
          <a:xfrm>
            <a:off x="3600709" y="2145339"/>
            <a:ext cx="6263337" cy="4717018"/>
          </a:xfrm>
          <a:prstGeom prst="rect">
            <a:avLst/>
          </a:prstGeom>
        </p:spPr>
      </p:pic>
      <p:graphicFrame>
        <p:nvGraphicFramePr>
          <p:cNvPr id="8" name="Diagrama 7">
            <a:extLst>
              <a:ext uri="{FF2B5EF4-FFF2-40B4-BE49-F238E27FC236}">
                <a16:creationId xmlns:a16="http://schemas.microsoft.com/office/drawing/2014/main" id="{855D7380-A857-63D4-2AB8-FB8FDF7B6F0A}"/>
              </a:ext>
            </a:extLst>
          </p:cNvPr>
          <p:cNvGraphicFramePr/>
          <p:nvPr>
            <p:extLst>
              <p:ext uri="{D42A27DB-BD31-4B8C-83A1-F6EECF244321}">
                <p14:modId xmlns:p14="http://schemas.microsoft.com/office/powerpoint/2010/main" val="2893226729"/>
              </p:ext>
            </p:extLst>
          </p:nvPr>
        </p:nvGraphicFramePr>
        <p:xfrm>
          <a:off x="839481" y="727087"/>
          <a:ext cx="10324705" cy="10975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2" name="Título 1">
            <a:extLst>
              <a:ext uri="{FF2B5EF4-FFF2-40B4-BE49-F238E27FC236}">
                <a16:creationId xmlns:a16="http://schemas.microsoft.com/office/drawing/2014/main" id="{C4F92E7D-EDF3-5405-8F7F-71FB052A0483}"/>
              </a:ext>
            </a:extLst>
          </p:cNvPr>
          <p:cNvSpPr>
            <a:spLocks noGrp="1"/>
          </p:cNvSpPr>
          <p:nvPr>
            <p:ph type="title"/>
          </p:nvPr>
        </p:nvSpPr>
        <p:spPr>
          <a:xfrm>
            <a:off x="471325" y="-853911"/>
            <a:ext cx="7704592" cy="1473192"/>
          </a:xfrm>
        </p:spPr>
        <p:txBody>
          <a:bodyPr>
            <a:normAutofit/>
          </a:bodyPr>
          <a:lstStyle/>
          <a:p>
            <a:r>
              <a:rPr lang="es-CO" sz="3200" dirty="0" err="1"/>
              <a:t>Resources</a:t>
            </a:r>
            <a:r>
              <a:rPr lang="es-CO" sz="3200" dirty="0"/>
              <a:t> - </a:t>
            </a:r>
            <a:r>
              <a:rPr lang="es-CO" sz="3200" dirty="0" err="1"/>
              <a:t>Emergency</a:t>
            </a:r>
            <a:r>
              <a:rPr lang="es-CO" sz="3200" dirty="0"/>
              <a:t> </a:t>
            </a:r>
            <a:r>
              <a:rPr lang="es-CO" sz="3200" dirty="0" err="1"/>
              <a:t>History</a:t>
            </a:r>
            <a:endParaRPr lang="es-CO" sz="3200" dirty="0"/>
          </a:p>
        </p:txBody>
      </p:sp>
      <p:sp>
        <p:nvSpPr>
          <p:cNvPr id="187" name="CuadroTexto 186">
            <a:extLst>
              <a:ext uri="{FF2B5EF4-FFF2-40B4-BE49-F238E27FC236}">
                <a16:creationId xmlns:a16="http://schemas.microsoft.com/office/drawing/2014/main" id="{99A44BF4-202B-4407-6374-910F0976EAF0}"/>
              </a:ext>
            </a:extLst>
          </p:cNvPr>
          <p:cNvSpPr txBox="1"/>
          <p:nvPr/>
        </p:nvSpPr>
        <p:spPr>
          <a:xfrm>
            <a:off x="4739268" y="1942170"/>
            <a:ext cx="450694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1100" b="1" dirty="0" err="1">
                <a:cs typeface="Arial"/>
              </a:rPr>
              <a:t>Investment</a:t>
            </a:r>
            <a:r>
              <a:rPr lang="es-ES" sz="1100" b="1" dirty="0">
                <a:cs typeface="Arial"/>
              </a:rPr>
              <a:t> </a:t>
            </a:r>
            <a:r>
              <a:rPr lang="es-ES" sz="1100" b="1" dirty="0" err="1">
                <a:cs typeface="Arial"/>
              </a:rPr>
              <a:t>by</a:t>
            </a:r>
            <a:r>
              <a:rPr lang="es-ES" sz="1100" b="1" dirty="0">
                <a:cs typeface="Arial"/>
              </a:rPr>
              <a:t> </a:t>
            </a:r>
            <a:r>
              <a:rPr lang="es-ES" sz="1100" b="1" dirty="0" err="1">
                <a:cs typeface="Arial"/>
              </a:rPr>
              <a:t>department</a:t>
            </a:r>
            <a:r>
              <a:rPr lang="es-ES" sz="1100" b="1" dirty="0">
                <a:cs typeface="Arial"/>
              </a:rPr>
              <a:t> 2018-2022</a:t>
            </a:r>
            <a:endParaRPr lang="es-ES" sz="1100" b="1" dirty="0"/>
          </a:p>
        </p:txBody>
      </p:sp>
    </p:spTree>
    <p:extLst>
      <p:ext uri="{BB962C8B-B14F-4D97-AF65-F5344CB8AC3E}">
        <p14:creationId xmlns:p14="http://schemas.microsoft.com/office/powerpoint/2010/main" val="2416396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6089AC97-4254-C528-5EB8-EB2140E1512A}"/>
              </a:ext>
            </a:extLst>
          </p:cNvPr>
          <p:cNvSpPr txBox="1"/>
          <p:nvPr/>
        </p:nvSpPr>
        <p:spPr>
          <a:xfrm>
            <a:off x="782444" y="1759082"/>
            <a:ext cx="6467667" cy="1246495"/>
          </a:xfrm>
          <a:prstGeom prst="rect">
            <a:avLst/>
          </a:prstGeom>
        </p:spPr>
        <p:txBody>
          <a:bodyPr vert="horz" lIns="91440" tIns="45720" rIns="91440" bIns="45720" rtlCol="0" anchor="ctr">
            <a:normAutofit fontScale="97500"/>
          </a:bodyPr>
          <a:lstStyle/>
          <a:p>
            <a:pPr>
              <a:lnSpc>
                <a:spcPts val="3000"/>
              </a:lnSpc>
              <a:spcBef>
                <a:spcPct val="0"/>
              </a:spcBef>
            </a:pPr>
            <a:r>
              <a:rPr lang="es-ES" sz="2900" b="1" dirty="0" err="1">
                <a:solidFill>
                  <a:schemeClr val="bg2">
                    <a:lumMod val="50000"/>
                  </a:schemeClr>
                </a:solidFill>
                <a:latin typeface="+mj-lt"/>
                <a:ea typeface="+mj-ea"/>
                <a:cs typeface="+mj-cs"/>
              </a:rPr>
              <a:t>Humanitarian</a:t>
            </a:r>
            <a:r>
              <a:rPr lang="es-ES" sz="2900" b="1" dirty="0">
                <a:solidFill>
                  <a:schemeClr val="bg2">
                    <a:lumMod val="50000"/>
                  </a:schemeClr>
                </a:solidFill>
                <a:latin typeface="+mj-lt"/>
                <a:ea typeface="+mj-ea"/>
                <a:cs typeface="+mj-cs"/>
              </a:rPr>
              <a:t> </a:t>
            </a:r>
            <a:r>
              <a:rPr lang="es-ES" sz="2900" b="1" dirty="0" err="1">
                <a:solidFill>
                  <a:schemeClr val="bg2">
                    <a:lumMod val="50000"/>
                  </a:schemeClr>
                </a:solidFill>
                <a:latin typeface="+mj-lt"/>
                <a:ea typeface="+mj-ea"/>
                <a:cs typeface="+mj-cs"/>
              </a:rPr>
              <a:t>aid</a:t>
            </a:r>
            <a:endParaRPr lang="es-CO" sz="2900" b="1" dirty="0">
              <a:solidFill>
                <a:schemeClr val="bg2">
                  <a:lumMod val="50000"/>
                </a:schemeClr>
              </a:solidFill>
              <a:latin typeface="+mj-lt"/>
              <a:ea typeface="+mj-ea"/>
              <a:cs typeface="+mj-cs"/>
            </a:endParaRPr>
          </a:p>
        </p:txBody>
      </p:sp>
      <p:sp>
        <p:nvSpPr>
          <p:cNvPr id="8" name="CuadroTexto 7">
            <a:extLst>
              <a:ext uri="{FF2B5EF4-FFF2-40B4-BE49-F238E27FC236}">
                <a16:creationId xmlns:a16="http://schemas.microsoft.com/office/drawing/2014/main" id="{A18FE16F-5F03-2332-92F2-8BD2D57B89C3}"/>
              </a:ext>
            </a:extLst>
          </p:cNvPr>
          <p:cNvSpPr txBox="1"/>
          <p:nvPr/>
        </p:nvSpPr>
        <p:spPr>
          <a:xfrm>
            <a:off x="782444" y="6315492"/>
            <a:ext cx="8620760" cy="430887"/>
          </a:xfrm>
          <a:prstGeom prst="rect">
            <a:avLst/>
          </a:prstGeom>
          <a:noFill/>
        </p:spPr>
        <p:txBody>
          <a:bodyPr wrap="square" lIns="91440" tIns="45720" rIns="91440" bIns="45720" rtlCol="0" anchor="t">
            <a:spAutoFit/>
          </a:bodyPr>
          <a:lstStyle/>
          <a:p>
            <a:r>
              <a:rPr lang="es-419" sz="1100" b="1" dirty="0" err="1"/>
              <a:t>Sources</a:t>
            </a:r>
            <a:r>
              <a:rPr lang="es-419" sz="1100" b="1" dirty="0"/>
              <a:t>: </a:t>
            </a:r>
            <a:r>
              <a:rPr lang="es-419" sz="1100" dirty="0" err="1"/>
              <a:t>Climate</a:t>
            </a:r>
            <a:r>
              <a:rPr lang="es-419" sz="1100" dirty="0"/>
              <a:t> </a:t>
            </a:r>
            <a:r>
              <a:rPr lang="es-419" sz="1100" dirty="0" err="1"/>
              <a:t>Risk</a:t>
            </a:r>
            <a:r>
              <a:rPr lang="es-419" sz="1100" dirty="0"/>
              <a:t> (</a:t>
            </a:r>
            <a:r>
              <a:rPr lang="es-CO" sz="1100" b="0" i="0" dirty="0">
                <a:solidFill>
                  <a:srgbClr val="555555"/>
                </a:solidFill>
                <a:effectLst/>
                <a:latin typeface="Helvetica Neue"/>
              </a:rPr>
              <a:t>IDEAM et al., 2017. </a:t>
            </a:r>
            <a:r>
              <a:rPr lang="pt-BR" sz="1100" dirty="0">
                <a:hlinkClick r:id="rId2"/>
              </a:rPr>
              <a:t>RESULTADOS - IDEAM (cambioclimatico.gov.co)</a:t>
            </a:r>
            <a:endParaRPr lang="pt-BR" sz="1100" dirty="0"/>
          </a:p>
          <a:p>
            <a:endParaRPr lang="es-CO" sz="1100" dirty="0"/>
          </a:p>
        </p:txBody>
      </p:sp>
      <p:graphicFrame>
        <p:nvGraphicFramePr>
          <p:cNvPr id="4" name="Tabla 3">
            <a:extLst>
              <a:ext uri="{FF2B5EF4-FFF2-40B4-BE49-F238E27FC236}">
                <a16:creationId xmlns:a16="http://schemas.microsoft.com/office/drawing/2014/main" id="{49920B8A-39C0-E187-1218-25274B697550}"/>
              </a:ext>
            </a:extLst>
          </p:cNvPr>
          <p:cNvGraphicFramePr>
            <a:graphicFrameLocks noGrp="1"/>
          </p:cNvGraphicFramePr>
          <p:nvPr>
            <p:extLst>
              <p:ext uri="{D42A27DB-BD31-4B8C-83A1-F6EECF244321}">
                <p14:modId xmlns:p14="http://schemas.microsoft.com/office/powerpoint/2010/main" val="846747917"/>
              </p:ext>
            </p:extLst>
          </p:nvPr>
        </p:nvGraphicFramePr>
        <p:xfrm>
          <a:off x="814741" y="2740246"/>
          <a:ext cx="9845957" cy="1766770"/>
        </p:xfrm>
        <a:graphic>
          <a:graphicData uri="http://schemas.openxmlformats.org/drawingml/2006/table">
            <a:tbl>
              <a:tblPr/>
              <a:tblGrid>
                <a:gridCol w="1285205">
                  <a:extLst>
                    <a:ext uri="{9D8B030D-6E8A-4147-A177-3AD203B41FA5}">
                      <a16:colId xmlns:a16="http://schemas.microsoft.com/office/drawing/2014/main" val="715559192"/>
                    </a:ext>
                  </a:extLst>
                </a:gridCol>
                <a:gridCol w="2138949">
                  <a:extLst>
                    <a:ext uri="{9D8B030D-6E8A-4147-A177-3AD203B41FA5}">
                      <a16:colId xmlns:a16="http://schemas.microsoft.com/office/drawing/2014/main" val="500945440"/>
                    </a:ext>
                  </a:extLst>
                </a:gridCol>
                <a:gridCol w="1817645">
                  <a:extLst>
                    <a:ext uri="{9D8B030D-6E8A-4147-A177-3AD203B41FA5}">
                      <a16:colId xmlns:a16="http://schemas.microsoft.com/office/drawing/2014/main" val="2517381811"/>
                    </a:ext>
                  </a:extLst>
                </a:gridCol>
                <a:gridCol w="1331105">
                  <a:extLst>
                    <a:ext uri="{9D8B030D-6E8A-4147-A177-3AD203B41FA5}">
                      <a16:colId xmlns:a16="http://schemas.microsoft.com/office/drawing/2014/main" val="2685893591"/>
                    </a:ext>
                  </a:extLst>
                </a:gridCol>
                <a:gridCol w="1762567">
                  <a:extLst>
                    <a:ext uri="{9D8B030D-6E8A-4147-A177-3AD203B41FA5}">
                      <a16:colId xmlns:a16="http://schemas.microsoft.com/office/drawing/2014/main" val="3030230090"/>
                    </a:ext>
                  </a:extLst>
                </a:gridCol>
                <a:gridCol w="1510486">
                  <a:extLst>
                    <a:ext uri="{9D8B030D-6E8A-4147-A177-3AD203B41FA5}">
                      <a16:colId xmlns:a16="http://schemas.microsoft.com/office/drawing/2014/main" val="533877531"/>
                    </a:ext>
                  </a:extLst>
                </a:gridCol>
              </a:tblGrid>
              <a:tr h="635340">
                <a:tc>
                  <a:txBody>
                    <a:bodyPr/>
                    <a:lstStyle/>
                    <a:p>
                      <a:pPr algn="ctr" fontAlgn="b"/>
                      <a:r>
                        <a:rPr lang="es-CO" sz="1050" b="1" i="0" u="none" strike="noStrike" dirty="0" err="1">
                          <a:solidFill>
                            <a:schemeClr val="bg1"/>
                          </a:solidFill>
                          <a:effectLst/>
                          <a:latin typeface="Calibri"/>
                        </a:rPr>
                        <a:t>Department</a:t>
                      </a:r>
                      <a:endParaRPr lang="es-CO" sz="1050" b="1" i="0" u="none" strike="noStrike" dirty="0">
                        <a:solidFill>
                          <a:schemeClr val="bg1"/>
                        </a:solidFill>
                        <a:effectLst/>
                        <a:latin typeface="Calibri"/>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Investment</a:t>
                      </a:r>
                      <a:r>
                        <a:rPr lang="es-CO" sz="1050" b="1" i="0" u="none" strike="noStrike" dirty="0">
                          <a:solidFill>
                            <a:schemeClr val="bg1"/>
                          </a:solidFill>
                          <a:effectLst/>
                          <a:latin typeface="Calibri"/>
                        </a:rPr>
                        <a:t> 2018-2022 (MM)</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Average</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Annual</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Invested</a:t>
                      </a:r>
                      <a:endParaRPr lang="es-CO" sz="1050" b="1" i="0" u="none" strike="noStrike" dirty="0">
                        <a:solidFill>
                          <a:schemeClr val="bg1"/>
                        </a:solidFill>
                        <a:effectLst/>
                        <a:latin typeface="Calibri"/>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a:solidFill>
                            <a:schemeClr val="bg1"/>
                          </a:solidFill>
                          <a:effectLst/>
                          <a:latin typeface="Calibri"/>
                        </a:rPr>
                        <a:t>Total Beneficiaries</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Average</a:t>
                      </a:r>
                      <a:r>
                        <a:rPr lang="es-CO" sz="1050" b="1" i="0" u="none" strike="noStrike" dirty="0">
                          <a:solidFill>
                            <a:schemeClr val="bg1"/>
                          </a:solidFill>
                          <a:effectLst/>
                          <a:latin typeface="Calibri"/>
                        </a:rPr>
                        <a:t> Beneficiaries per </a:t>
                      </a:r>
                      <a:r>
                        <a:rPr lang="es-CO" sz="1050" b="1" i="0" u="none" strike="noStrike" dirty="0" err="1">
                          <a:solidFill>
                            <a:schemeClr val="bg1"/>
                          </a:solidFill>
                          <a:effectLst/>
                          <a:latin typeface="Calibri"/>
                        </a:rPr>
                        <a:t>project</a:t>
                      </a:r>
                      <a:endParaRPr lang="es-CO" sz="1050" b="1" i="0" u="none" strike="noStrike" dirty="0">
                        <a:solidFill>
                          <a:schemeClr val="bg1"/>
                        </a:solidFill>
                        <a:effectLst/>
                        <a:latin typeface="Calibri"/>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Departmental</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Climate</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Risk</a:t>
                      </a:r>
                      <a:endParaRPr lang="es-CO" sz="1050" b="1" i="0" u="none" strike="noStrike" dirty="0">
                        <a:solidFill>
                          <a:schemeClr val="bg1"/>
                        </a:solidFill>
                        <a:effectLst/>
                        <a:latin typeface="Calibri"/>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805059229"/>
                  </a:ext>
                </a:extLst>
              </a:tr>
              <a:tr h="226286">
                <a:tc>
                  <a:txBody>
                    <a:bodyPr/>
                    <a:lstStyle/>
                    <a:p>
                      <a:pPr algn="l" fontAlgn="b"/>
                      <a:r>
                        <a:rPr lang="es-CO" sz="1050" b="0" i="0" u="none" strike="noStrike">
                          <a:solidFill>
                            <a:srgbClr val="000000"/>
                          </a:solidFill>
                          <a:effectLst/>
                          <a:latin typeface="Calibri"/>
                        </a:rPr>
                        <a:t>LA GUAJIRA</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3.833.359.565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766.671.913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64.2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32.1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7,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3420833"/>
                  </a:ext>
                </a:extLst>
              </a:tr>
              <a:tr h="226286">
                <a:tc>
                  <a:txBody>
                    <a:bodyPr/>
                    <a:lstStyle/>
                    <a:p>
                      <a:pPr algn="l" fontAlgn="b"/>
                      <a:r>
                        <a:rPr lang="es-CO" sz="1050" b="0" i="0" u="none" strike="noStrike">
                          <a:solidFill>
                            <a:srgbClr val="000000"/>
                          </a:solidFill>
                          <a:effectLst/>
                          <a:latin typeface="Calibri"/>
                        </a:rPr>
                        <a:t>META</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 2.567.951.896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513.590.379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0.833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5.41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6,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858208"/>
                  </a:ext>
                </a:extLst>
              </a:tr>
              <a:tr h="226286">
                <a:tc>
                  <a:txBody>
                    <a:bodyPr/>
                    <a:lstStyle/>
                    <a:p>
                      <a:pPr algn="l" fontAlgn="b"/>
                      <a:r>
                        <a:rPr lang="es-CO" sz="1050" b="0" i="0" u="none" strike="noStrike">
                          <a:solidFill>
                            <a:srgbClr val="000000"/>
                          </a:solidFill>
                          <a:effectLst/>
                          <a:latin typeface="Calibri"/>
                        </a:rPr>
                        <a:t>SANTANDER</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1.753.461.31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350.692.26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8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1.8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5,6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1028582"/>
                  </a:ext>
                </a:extLst>
              </a:tr>
              <a:tr h="226286">
                <a:tc>
                  <a:txBody>
                    <a:bodyPr/>
                    <a:lstStyle/>
                    <a:p>
                      <a:pPr algn="l" fontAlgn="b"/>
                      <a:r>
                        <a:rPr lang="es-CO" sz="1050" b="0" i="0" u="none" strike="noStrike">
                          <a:solidFill>
                            <a:srgbClr val="000000"/>
                          </a:solidFill>
                          <a:effectLst/>
                          <a:latin typeface="Calibri"/>
                        </a:rPr>
                        <a:t>BOLÍVAR</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1.458.765.67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291.753.136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30.59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10.19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8,6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4274457"/>
                  </a:ext>
                </a:extLst>
              </a:tr>
              <a:tr h="226286">
                <a:tc>
                  <a:txBody>
                    <a:bodyPr/>
                    <a:lstStyle/>
                    <a:p>
                      <a:pPr algn="l" fontAlgn="b"/>
                      <a:r>
                        <a:rPr lang="es-CO" sz="1050" b="0" i="0" u="none" strike="noStrike">
                          <a:solidFill>
                            <a:srgbClr val="000000"/>
                          </a:solidFill>
                          <a:effectLst/>
                          <a:latin typeface="Calibri"/>
                        </a:rPr>
                        <a:t>ARAUCA</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1.311.073.36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262.214.67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8.8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4.7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dirty="0">
                          <a:solidFill>
                            <a:srgbClr val="000000"/>
                          </a:solidFill>
                          <a:effectLst/>
                          <a:latin typeface="Calibri"/>
                        </a:rPr>
                        <a:t>19,5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4161128"/>
                  </a:ext>
                </a:extLst>
              </a:tr>
            </a:tbl>
          </a:graphicData>
        </a:graphic>
      </p:graphicFrame>
      <p:graphicFrame>
        <p:nvGraphicFramePr>
          <p:cNvPr id="10" name="Tabla 9">
            <a:extLst>
              <a:ext uri="{FF2B5EF4-FFF2-40B4-BE49-F238E27FC236}">
                <a16:creationId xmlns:a16="http://schemas.microsoft.com/office/drawing/2014/main" id="{D8CC49D8-527B-0BAC-41F9-7E7A02DD3D88}"/>
              </a:ext>
            </a:extLst>
          </p:cNvPr>
          <p:cNvGraphicFramePr>
            <a:graphicFrameLocks noGrp="1"/>
          </p:cNvGraphicFramePr>
          <p:nvPr>
            <p:extLst>
              <p:ext uri="{D42A27DB-BD31-4B8C-83A1-F6EECF244321}">
                <p14:modId xmlns:p14="http://schemas.microsoft.com/office/powerpoint/2010/main" val="334123685"/>
              </p:ext>
            </p:extLst>
          </p:nvPr>
        </p:nvGraphicFramePr>
        <p:xfrm>
          <a:off x="845633" y="5129561"/>
          <a:ext cx="7136770" cy="994273"/>
        </p:xfrm>
        <a:graphic>
          <a:graphicData uri="http://schemas.openxmlformats.org/drawingml/2006/table">
            <a:tbl>
              <a:tblPr/>
              <a:tblGrid>
                <a:gridCol w="1552271">
                  <a:extLst>
                    <a:ext uri="{9D8B030D-6E8A-4147-A177-3AD203B41FA5}">
                      <a16:colId xmlns:a16="http://schemas.microsoft.com/office/drawing/2014/main" val="239305234"/>
                    </a:ext>
                  </a:extLst>
                </a:gridCol>
                <a:gridCol w="2259519">
                  <a:extLst>
                    <a:ext uri="{9D8B030D-6E8A-4147-A177-3AD203B41FA5}">
                      <a16:colId xmlns:a16="http://schemas.microsoft.com/office/drawing/2014/main" val="3200431226"/>
                    </a:ext>
                  </a:extLst>
                </a:gridCol>
                <a:gridCol w="1947225">
                  <a:extLst>
                    <a:ext uri="{9D8B030D-6E8A-4147-A177-3AD203B41FA5}">
                      <a16:colId xmlns:a16="http://schemas.microsoft.com/office/drawing/2014/main" val="1585327784"/>
                    </a:ext>
                  </a:extLst>
                </a:gridCol>
                <a:gridCol w="1377755">
                  <a:extLst>
                    <a:ext uri="{9D8B030D-6E8A-4147-A177-3AD203B41FA5}">
                      <a16:colId xmlns:a16="http://schemas.microsoft.com/office/drawing/2014/main" val="2814800196"/>
                    </a:ext>
                  </a:extLst>
                </a:gridCol>
              </a:tblGrid>
              <a:tr h="509669">
                <a:tc>
                  <a:txBody>
                    <a:bodyPr/>
                    <a:lstStyle/>
                    <a:p>
                      <a:pPr algn="ctr" fontAlgn="b"/>
                      <a:r>
                        <a:rPr lang="es-CO" sz="1050" b="1" i="0" u="none" strike="noStrike" dirty="0" err="1">
                          <a:solidFill>
                            <a:schemeClr val="bg1"/>
                          </a:solidFill>
                          <a:effectLst/>
                          <a:latin typeface="Calibri"/>
                        </a:rPr>
                        <a:t>Department</a:t>
                      </a:r>
                      <a:endParaRPr lang="es-CO" sz="1050" b="1" i="0" u="none" strike="noStrike" dirty="0">
                        <a:solidFill>
                          <a:schemeClr val="bg1"/>
                        </a:solidFill>
                        <a:effectLst/>
                        <a:latin typeface="Calibri"/>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Investment</a:t>
                      </a:r>
                      <a:r>
                        <a:rPr lang="es-CO" sz="1050" b="1" i="0" u="none" strike="noStrike" dirty="0">
                          <a:solidFill>
                            <a:schemeClr val="bg1"/>
                          </a:solidFill>
                          <a:effectLst/>
                          <a:latin typeface="Calibri"/>
                        </a:rPr>
                        <a:t> 2018-2022 (M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Average</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Annual</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Invested</a:t>
                      </a:r>
                      <a:endParaRPr lang="es-CO" sz="1050" b="1" i="0" u="none" strike="noStrike" dirty="0">
                        <a:solidFill>
                          <a:schemeClr val="bg1"/>
                        </a:solidFill>
                        <a:effectLst/>
                        <a:latin typeface="Calibri"/>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O" sz="1050" b="1" i="0" u="none" strike="noStrike" dirty="0" err="1">
                          <a:solidFill>
                            <a:schemeClr val="bg1"/>
                          </a:solidFill>
                          <a:effectLst/>
                          <a:latin typeface="Calibri"/>
                        </a:rPr>
                        <a:t>Departmental</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Climate</a:t>
                      </a:r>
                      <a:r>
                        <a:rPr lang="es-CO" sz="1050" b="1" i="0" u="none" strike="noStrike" dirty="0">
                          <a:solidFill>
                            <a:schemeClr val="bg1"/>
                          </a:solidFill>
                          <a:effectLst/>
                          <a:latin typeface="Calibri"/>
                        </a:rPr>
                        <a:t> </a:t>
                      </a:r>
                      <a:r>
                        <a:rPr lang="es-CO" sz="1050" b="1" i="0" u="none" strike="noStrike" dirty="0" err="1">
                          <a:solidFill>
                            <a:schemeClr val="bg1"/>
                          </a:solidFill>
                          <a:effectLst/>
                          <a:latin typeface="Calibri"/>
                        </a:rPr>
                        <a:t>Risk</a:t>
                      </a:r>
                      <a:endParaRPr lang="es-CO" sz="1050" b="1" i="0" u="none" strike="noStrike" dirty="0">
                        <a:solidFill>
                          <a:schemeClr val="bg1"/>
                        </a:solidFill>
                        <a:effectLst/>
                        <a:latin typeface="Calibri"/>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049150011"/>
                  </a:ext>
                </a:extLst>
              </a:tr>
              <a:tr h="242302">
                <a:tc>
                  <a:txBody>
                    <a:bodyPr/>
                    <a:lstStyle/>
                    <a:p>
                      <a:pPr algn="ctr" fontAlgn="b"/>
                      <a:r>
                        <a:rPr lang="es-CO" sz="1050" b="0" i="0" u="none" strike="noStrike">
                          <a:solidFill>
                            <a:srgbClr val="000000"/>
                          </a:solidFill>
                          <a:effectLst/>
                          <a:latin typeface="Calibri"/>
                        </a:rPr>
                        <a:t>META</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3.992.528.31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798.505.662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16,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5489762"/>
                  </a:ext>
                </a:extLst>
              </a:tr>
              <a:tr h="242302">
                <a:tc>
                  <a:txBody>
                    <a:bodyPr/>
                    <a:lstStyle/>
                    <a:p>
                      <a:pPr algn="ctr" fontAlgn="b"/>
                      <a:r>
                        <a:rPr lang="es-CO" sz="1050" b="0" i="0" u="none" strike="noStrike">
                          <a:solidFill>
                            <a:srgbClr val="000000"/>
                          </a:solidFill>
                          <a:effectLst/>
                          <a:latin typeface="Calibri"/>
                        </a:rPr>
                        <a:t>CASANARE</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351.437.76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a:solidFill>
                            <a:srgbClr val="000000"/>
                          </a:solidFill>
                          <a:effectLst/>
                          <a:latin typeface="Calibri"/>
                        </a:rPr>
                        <a:t>$ 70.287.554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050" b="0" i="0" u="none" strike="noStrike" dirty="0">
                          <a:solidFill>
                            <a:srgbClr val="000000"/>
                          </a:solidFill>
                          <a:effectLst/>
                          <a:latin typeface="Calibri"/>
                        </a:rPr>
                        <a:t>15,0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774728"/>
                  </a:ext>
                </a:extLst>
              </a:tr>
            </a:tbl>
          </a:graphicData>
        </a:graphic>
      </p:graphicFrame>
      <p:sp>
        <p:nvSpPr>
          <p:cNvPr id="11" name="CuadroTexto 10">
            <a:extLst>
              <a:ext uri="{FF2B5EF4-FFF2-40B4-BE49-F238E27FC236}">
                <a16:creationId xmlns:a16="http://schemas.microsoft.com/office/drawing/2014/main" id="{086B8EEA-9A4E-D27A-865A-3B1DE85B9CEB}"/>
              </a:ext>
            </a:extLst>
          </p:cNvPr>
          <p:cNvSpPr txBox="1"/>
          <p:nvPr/>
        </p:nvSpPr>
        <p:spPr>
          <a:xfrm>
            <a:off x="782444" y="4543023"/>
            <a:ext cx="8187727" cy="1246495"/>
          </a:xfrm>
          <a:prstGeom prst="rect">
            <a:avLst/>
          </a:prstGeom>
        </p:spPr>
        <p:txBody>
          <a:bodyPr vert="horz" lIns="91440" tIns="45720" rIns="91440" bIns="45720" rtlCol="0" anchor="ctr">
            <a:normAutofit fontScale="97500"/>
          </a:bodyPr>
          <a:lstStyle/>
          <a:p>
            <a:pPr>
              <a:lnSpc>
                <a:spcPts val="3000"/>
              </a:lnSpc>
              <a:spcBef>
                <a:spcPct val="0"/>
              </a:spcBef>
            </a:pPr>
            <a:r>
              <a:rPr lang="es-ES" sz="2600" b="1" dirty="0">
                <a:solidFill>
                  <a:schemeClr val="bg2">
                    <a:lumMod val="50000"/>
                  </a:schemeClr>
                </a:solidFill>
                <a:latin typeface="+mj-lt"/>
                <a:ea typeface="+mj-ea"/>
                <a:cs typeface="+mj-cs"/>
              </a:rPr>
              <a:t>Heavy </a:t>
            </a:r>
            <a:r>
              <a:rPr lang="es-ES" sz="2600" b="1" dirty="0" err="1">
                <a:solidFill>
                  <a:schemeClr val="bg2">
                    <a:lumMod val="50000"/>
                  </a:schemeClr>
                </a:solidFill>
                <a:latin typeface="+mj-lt"/>
                <a:ea typeface="+mj-ea"/>
                <a:cs typeface="+mj-cs"/>
              </a:rPr>
              <a:t>machinery</a:t>
            </a:r>
            <a:r>
              <a:rPr lang="es-ES" sz="2600" b="1" dirty="0">
                <a:solidFill>
                  <a:schemeClr val="bg2">
                    <a:lumMod val="50000"/>
                  </a:schemeClr>
                </a:solidFill>
                <a:latin typeface="+mj-lt"/>
                <a:ea typeface="+mj-ea"/>
                <a:cs typeface="+mj-cs"/>
              </a:rPr>
              <a:t> </a:t>
            </a:r>
            <a:r>
              <a:rPr lang="es-ES" sz="2600" b="1" dirty="0" err="1">
                <a:solidFill>
                  <a:schemeClr val="bg2">
                    <a:lumMod val="50000"/>
                  </a:schemeClr>
                </a:solidFill>
                <a:latin typeface="+mj-lt"/>
                <a:ea typeface="+mj-ea"/>
                <a:cs typeface="+mj-cs"/>
              </a:rPr>
              <a:t>to</a:t>
            </a:r>
            <a:r>
              <a:rPr lang="es-ES" sz="2600" b="1" dirty="0">
                <a:solidFill>
                  <a:schemeClr val="bg2">
                    <a:lumMod val="50000"/>
                  </a:schemeClr>
                </a:solidFill>
                <a:latin typeface="+mj-lt"/>
                <a:ea typeface="+mj-ea"/>
                <a:cs typeface="+mj-cs"/>
              </a:rPr>
              <a:t> </a:t>
            </a:r>
            <a:r>
              <a:rPr lang="es-ES" sz="2600" b="1" dirty="0" err="1">
                <a:solidFill>
                  <a:schemeClr val="bg2">
                    <a:lumMod val="50000"/>
                  </a:schemeClr>
                </a:solidFill>
                <a:latin typeface="+mj-lt"/>
                <a:ea typeface="+mj-ea"/>
                <a:cs typeface="+mj-cs"/>
              </a:rPr>
              <a:t>assist</a:t>
            </a:r>
            <a:r>
              <a:rPr lang="es-ES" sz="2600" b="1" dirty="0">
                <a:solidFill>
                  <a:schemeClr val="bg2">
                    <a:lumMod val="50000"/>
                  </a:schemeClr>
                </a:solidFill>
                <a:latin typeface="+mj-lt"/>
                <a:ea typeface="+mj-ea"/>
                <a:cs typeface="+mj-cs"/>
              </a:rPr>
              <a:t> in </a:t>
            </a:r>
            <a:r>
              <a:rPr lang="es-ES" sz="2600" b="1" dirty="0" err="1">
                <a:solidFill>
                  <a:schemeClr val="bg2">
                    <a:lumMod val="50000"/>
                  </a:schemeClr>
                </a:solidFill>
                <a:latin typeface="+mj-lt"/>
                <a:ea typeface="+mj-ea"/>
                <a:cs typeface="+mj-cs"/>
              </a:rPr>
              <a:t>flood</a:t>
            </a:r>
            <a:r>
              <a:rPr lang="es-ES" sz="2600" b="1" dirty="0">
                <a:solidFill>
                  <a:schemeClr val="bg2">
                    <a:lumMod val="50000"/>
                  </a:schemeClr>
                </a:solidFill>
                <a:latin typeface="+mj-lt"/>
                <a:ea typeface="+mj-ea"/>
                <a:cs typeface="+mj-cs"/>
              </a:rPr>
              <a:t> </a:t>
            </a:r>
            <a:r>
              <a:rPr lang="es-ES" sz="2600" b="1" dirty="0" err="1">
                <a:solidFill>
                  <a:schemeClr val="bg2">
                    <a:lumMod val="50000"/>
                  </a:schemeClr>
                </a:solidFill>
                <a:latin typeface="+mj-lt"/>
                <a:ea typeface="+mj-ea"/>
                <a:cs typeface="+mj-cs"/>
              </a:rPr>
              <a:t>emergencies</a:t>
            </a:r>
            <a:endParaRPr lang="es-ES" sz="2600" b="1" dirty="0">
              <a:solidFill>
                <a:schemeClr val="bg2">
                  <a:lumMod val="50000"/>
                </a:schemeClr>
              </a:solidFill>
              <a:latin typeface="+mj-lt"/>
              <a:ea typeface="+mj-ea"/>
              <a:cs typeface="+mj-cs"/>
            </a:endParaRPr>
          </a:p>
          <a:p>
            <a:pPr>
              <a:lnSpc>
                <a:spcPts val="3000"/>
              </a:lnSpc>
              <a:spcBef>
                <a:spcPct val="0"/>
              </a:spcBef>
            </a:pPr>
            <a:endParaRPr lang="es-ES" sz="2600" b="1" dirty="0">
              <a:solidFill>
                <a:schemeClr val="bg2">
                  <a:lumMod val="50000"/>
                </a:schemeClr>
              </a:solidFill>
              <a:latin typeface="+mj-lt"/>
              <a:ea typeface="+mj-ea"/>
              <a:cs typeface="+mj-cs"/>
            </a:endParaRPr>
          </a:p>
          <a:p>
            <a:pPr>
              <a:lnSpc>
                <a:spcPts val="3000"/>
              </a:lnSpc>
              <a:spcBef>
                <a:spcPct val="0"/>
              </a:spcBef>
            </a:pPr>
            <a:r>
              <a:rPr lang="es-ES" sz="2600" b="1" dirty="0">
                <a:solidFill>
                  <a:schemeClr val="bg2">
                    <a:lumMod val="50000"/>
                  </a:schemeClr>
                </a:solidFill>
                <a:latin typeface="+mj-lt"/>
                <a:ea typeface="+mj-ea"/>
                <a:cs typeface="+mj-cs"/>
              </a:rPr>
              <a:t> </a:t>
            </a:r>
            <a:endParaRPr lang="es-CO" sz="2600" b="1" dirty="0">
              <a:solidFill>
                <a:schemeClr val="bg2">
                  <a:lumMod val="50000"/>
                </a:schemeClr>
              </a:solidFill>
              <a:latin typeface="+mj-lt"/>
              <a:ea typeface="+mj-ea"/>
              <a:cs typeface="+mj-cs"/>
            </a:endParaRPr>
          </a:p>
        </p:txBody>
      </p:sp>
      <p:sp>
        <p:nvSpPr>
          <p:cNvPr id="95" name="Título 1">
            <a:extLst>
              <a:ext uri="{FF2B5EF4-FFF2-40B4-BE49-F238E27FC236}">
                <a16:creationId xmlns:a16="http://schemas.microsoft.com/office/drawing/2014/main" id="{05A7844D-A3BC-96B6-1198-C009266D309C}"/>
              </a:ext>
            </a:extLst>
          </p:cNvPr>
          <p:cNvSpPr>
            <a:spLocks noGrp="1"/>
          </p:cNvSpPr>
          <p:nvPr>
            <p:ph type="title" idx="4294967295"/>
          </p:nvPr>
        </p:nvSpPr>
        <p:spPr>
          <a:xfrm>
            <a:off x="545667" y="192108"/>
            <a:ext cx="10210800" cy="482600"/>
          </a:xfrm>
        </p:spPr>
        <p:txBody>
          <a:bodyPr>
            <a:normAutofit fontScale="90000"/>
          </a:bodyPr>
          <a:lstStyle/>
          <a:p>
            <a:r>
              <a:rPr lang="es-CO" dirty="0" err="1"/>
              <a:t>Resources</a:t>
            </a:r>
            <a:r>
              <a:rPr lang="es-CO" dirty="0"/>
              <a:t> - </a:t>
            </a:r>
            <a:r>
              <a:rPr lang="es-CO" dirty="0" err="1"/>
              <a:t>Emergency</a:t>
            </a:r>
            <a:r>
              <a:rPr lang="es-CO" dirty="0"/>
              <a:t> </a:t>
            </a:r>
            <a:r>
              <a:rPr lang="es-CO" dirty="0" err="1"/>
              <a:t>History</a:t>
            </a:r>
            <a:endParaRPr lang="es-CO" dirty="0"/>
          </a:p>
        </p:txBody>
      </p:sp>
      <p:graphicFrame>
        <p:nvGraphicFramePr>
          <p:cNvPr id="9" name="Diagrama 8">
            <a:extLst>
              <a:ext uri="{FF2B5EF4-FFF2-40B4-BE49-F238E27FC236}">
                <a16:creationId xmlns:a16="http://schemas.microsoft.com/office/drawing/2014/main" id="{11F0AF9E-903C-6300-A884-DC7140866B1F}"/>
              </a:ext>
            </a:extLst>
          </p:cNvPr>
          <p:cNvGraphicFramePr/>
          <p:nvPr>
            <p:extLst>
              <p:ext uri="{D42A27DB-BD31-4B8C-83A1-F6EECF244321}">
                <p14:modId xmlns:p14="http://schemas.microsoft.com/office/powerpoint/2010/main" val="2589735219"/>
              </p:ext>
            </p:extLst>
          </p:nvPr>
        </p:nvGraphicFramePr>
        <p:xfrm>
          <a:off x="814741" y="830420"/>
          <a:ext cx="10324705" cy="10975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8694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364CB7-03B9-9609-4D48-3F1D238DEC3B}"/>
              </a:ext>
            </a:extLst>
          </p:cNvPr>
          <p:cNvSpPr>
            <a:spLocks noGrp="1"/>
          </p:cNvSpPr>
          <p:nvPr>
            <p:ph type="title"/>
          </p:nvPr>
        </p:nvSpPr>
        <p:spPr>
          <a:xfrm>
            <a:off x="725572" y="81850"/>
            <a:ext cx="10210800" cy="481916"/>
          </a:xfrm>
        </p:spPr>
        <p:txBody>
          <a:bodyPr>
            <a:normAutofit fontScale="90000"/>
          </a:bodyPr>
          <a:lstStyle/>
          <a:p>
            <a:r>
              <a:rPr lang="es-CO" dirty="0"/>
              <a:t>Predictive </a:t>
            </a:r>
            <a:r>
              <a:rPr lang="es-CO" dirty="0" err="1"/>
              <a:t>model</a:t>
            </a:r>
            <a:endParaRPr lang="es-CO" dirty="0"/>
          </a:p>
        </p:txBody>
      </p:sp>
      <p:pic>
        <p:nvPicPr>
          <p:cNvPr id="9" name="Imagen 8">
            <a:extLst>
              <a:ext uri="{FF2B5EF4-FFF2-40B4-BE49-F238E27FC236}">
                <a16:creationId xmlns:a16="http://schemas.microsoft.com/office/drawing/2014/main" id="{E1694411-EBA6-8E2C-7311-28BB64E5ECB2}"/>
              </a:ext>
            </a:extLst>
          </p:cNvPr>
          <p:cNvPicPr>
            <a:picLocks noChangeAspect="1"/>
          </p:cNvPicPr>
          <p:nvPr/>
        </p:nvPicPr>
        <p:blipFill>
          <a:blip r:embed="rId2"/>
          <a:stretch>
            <a:fillRect/>
          </a:stretch>
        </p:blipFill>
        <p:spPr>
          <a:xfrm>
            <a:off x="8909519" y="3772866"/>
            <a:ext cx="2949632" cy="2872299"/>
          </a:xfrm>
          <a:prstGeom prst="rect">
            <a:avLst/>
          </a:prstGeom>
        </p:spPr>
      </p:pic>
      <p:sp>
        <p:nvSpPr>
          <p:cNvPr id="40" name="CuadroTexto 39">
            <a:extLst>
              <a:ext uri="{FF2B5EF4-FFF2-40B4-BE49-F238E27FC236}">
                <a16:creationId xmlns:a16="http://schemas.microsoft.com/office/drawing/2014/main" id="{E4095FB4-28B9-4A86-17C6-B59A87329A34}"/>
              </a:ext>
            </a:extLst>
          </p:cNvPr>
          <p:cNvSpPr txBox="1"/>
          <p:nvPr/>
        </p:nvSpPr>
        <p:spPr>
          <a:xfrm>
            <a:off x="524108" y="681112"/>
            <a:ext cx="7863558" cy="900246"/>
          </a:xfrm>
          <a:custGeom>
            <a:avLst/>
            <a:gdLst>
              <a:gd name="connsiteX0" fmla="*/ 0 w 7863558"/>
              <a:gd name="connsiteY0" fmla="*/ 0 h 1242111"/>
              <a:gd name="connsiteX1" fmla="*/ 7863558 w 7863558"/>
              <a:gd name="connsiteY1" fmla="*/ 0 h 1242111"/>
              <a:gd name="connsiteX2" fmla="*/ 7863558 w 7863558"/>
              <a:gd name="connsiteY2" fmla="*/ 1242111 h 1242111"/>
              <a:gd name="connsiteX3" fmla="*/ 0 w 7863558"/>
              <a:gd name="connsiteY3" fmla="*/ 1242111 h 1242111"/>
              <a:gd name="connsiteX4" fmla="*/ 0 w 7863558"/>
              <a:gd name="connsiteY4" fmla="*/ 0 h 1242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3558" h="1242111" extrusionOk="0">
                <a:moveTo>
                  <a:pt x="0" y="0"/>
                </a:moveTo>
                <a:cubicBezTo>
                  <a:pt x="3887951" y="-113254"/>
                  <a:pt x="5778890" y="102601"/>
                  <a:pt x="7863558" y="0"/>
                </a:cubicBezTo>
                <a:cubicBezTo>
                  <a:pt x="7761575" y="601543"/>
                  <a:pt x="7970324" y="858342"/>
                  <a:pt x="7863558" y="1242111"/>
                </a:cubicBezTo>
                <a:cubicBezTo>
                  <a:pt x="5369691" y="1297921"/>
                  <a:pt x="2202589" y="1411069"/>
                  <a:pt x="0" y="1242111"/>
                </a:cubicBezTo>
                <a:cubicBezTo>
                  <a:pt x="-21417" y="803537"/>
                  <a:pt x="97574" y="284780"/>
                  <a:pt x="0" y="0"/>
                </a:cubicBezTo>
                <a:close/>
              </a:path>
            </a:pathLst>
          </a:custGeom>
          <a:noFill/>
          <a:ln>
            <a:solidFill>
              <a:srgbClr val="002060"/>
            </a:solidFill>
            <a:prstDash val="sysDot"/>
            <a:extLst>
              <a:ext uri="{C807C97D-BFC1-408E-A445-0C87EB9F89A2}">
                <ask:lineSketchStyleProps xmlns:ask="http://schemas.microsoft.com/office/drawing/2018/sketchyshapes" sd="4046769241">
                  <a:custGeom>
                    <a:avLst/>
                    <a:gdLst>
                      <a:gd name="connsiteX0" fmla="*/ 0 w 7863558"/>
                      <a:gd name="connsiteY0" fmla="*/ 0 h 1242111"/>
                      <a:gd name="connsiteX1" fmla="*/ 7863558 w 7863558"/>
                      <a:gd name="connsiteY1" fmla="*/ 0 h 1242111"/>
                      <a:gd name="connsiteX2" fmla="*/ 7863558 w 7863558"/>
                      <a:gd name="connsiteY2" fmla="*/ 1242111 h 1242111"/>
                      <a:gd name="connsiteX3" fmla="*/ 0 w 7863558"/>
                      <a:gd name="connsiteY3" fmla="*/ 1242111 h 1242111"/>
                      <a:gd name="connsiteX4" fmla="*/ 0 w 7863558"/>
                      <a:gd name="connsiteY4" fmla="*/ 0 h 1242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3558" h="1242111" extrusionOk="0">
                        <a:moveTo>
                          <a:pt x="0" y="0"/>
                        </a:moveTo>
                        <a:cubicBezTo>
                          <a:pt x="4370317" y="-230306"/>
                          <a:pt x="5779197" y="59121"/>
                          <a:pt x="7863558" y="0"/>
                        </a:cubicBezTo>
                        <a:cubicBezTo>
                          <a:pt x="7750584" y="596417"/>
                          <a:pt x="7946440" y="772612"/>
                          <a:pt x="7863558" y="1242111"/>
                        </a:cubicBezTo>
                        <a:cubicBezTo>
                          <a:pt x="5859220" y="939528"/>
                          <a:pt x="1541209" y="1430069"/>
                          <a:pt x="0" y="1242111"/>
                        </a:cubicBezTo>
                        <a:cubicBezTo>
                          <a:pt x="-68517" y="783730"/>
                          <a:pt x="108851" y="284120"/>
                          <a:pt x="0" y="0"/>
                        </a:cubicBezTo>
                        <a:close/>
                      </a:path>
                    </a:pathLst>
                  </a:custGeom>
                  <ask:type>
                    <ask:lineSketchNone/>
                  </ask:type>
                </ask:lineSketchStyleProps>
              </a:ext>
            </a:extLs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050" b="1" dirty="0" err="1">
                <a:cs typeface="Arial"/>
              </a:rPr>
              <a:t>Transformations</a:t>
            </a:r>
            <a:r>
              <a:rPr lang="es-ES" sz="1050" b="1" dirty="0">
                <a:cs typeface="Arial"/>
              </a:rPr>
              <a:t>:</a:t>
            </a:r>
            <a:endParaRPr lang="es-ES" dirty="0">
              <a:cs typeface="Arial"/>
            </a:endParaRPr>
          </a:p>
          <a:p>
            <a:pPr marL="171450" indent="-171450" algn="just">
              <a:buFont typeface="Arial"/>
              <a:buChar char="•"/>
            </a:pPr>
            <a:r>
              <a:rPr lang="en-US" sz="1050" dirty="0">
                <a:cs typeface="Arial"/>
              </a:rPr>
              <a:t>Emergency causes from 2019 to 2022 were transformed into real values with the CPI for each year based on 2018.
Spatial autocorrelation was detected (Figure 1) due to similar features shared by nearby departments. Therefore, the variables Risk index, annual temperature variation and annual precipitation variation were standardized for each department with the average for each of the variables of the 3 closest departments according to the nearest k neighbors (KNN) algorithm.</a:t>
            </a:r>
            <a:endParaRPr lang="es-ES" sz="1050" dirty="0">
              <a:cs typeface="Arial"/>
            </a:endParaRPr>
          </a:p>
        </p:txBody>
      </p:sp>
      <p:sp>
        <p:nvSpPr>
          <p:cNvPr id="51" name="CuadroTexto 50">
            <a:extLst>
              <a:ext uri="{FF2B5EF4-FFF2-40B4-BE49-F238E27FC236}">
                <a16:creationId xmlns:a16="http://schemas.microsoft.com/office/drawing/2014/main" id="{A68DFC12-F473-FED6-479D-675979E7F0C9}"/>
              </a:ext>
            </a:extLst>
          </p:cNvPr>
          <p:cNvSpPr txBox="1"/>
          <p:nvPr/>
        </p:nvSpPr>
        <p:spPr>
          <a:xfrm>
            <a:off x="725518" y="3768812"/>
            <a:ext cx="4497658"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dirty="0">
                <a:cs typeface="Arial"/>
              </a:rPr>
              <a:t>Decision Tree with Gradient Boosting XGB Algorithm</a:t>
            </a:r>
            <a:r>
              <a:rPr lang="es-ES" sz="1050" b="1" dirty="0">
                <a:cs typeface="Arial"/>
              </a:rPr>
              <a:t>:</a:t>
            </a:r>
          </a:p>
        </p:txBody>
      </p:sp>
      <p:pic>
        <p:nvPicPr>
          <p:cNvPr id="53" name="Imagen 53" descr="Texto&#10;&#10;Descripción generada automáticamente">
            <a:extLst>
              <a:ext uri="{FF2B5EF4-FFF2-40B4-BE49-F238E27FC236}">
                <a16:creationId xmlns:a16="http://schemas.microsoft.com/office/drawing/2014/main" id="{AF1F9B25-4DE8-BF02-A594-9632D4DD9F85}"/>
              </a:ext>
            </a:extLst>
          </p:cNvPr>
          <p:cNvPicPr>
            <a:picLocks noChangeAspect="1"/>
          </p:cNvPicPr>
          <p:nvPr/>
        </p:nvPicPr>
        <p:blipFill>
          <a:blip r:embed="rId3"/>
          <a:stretch>
            <a:fillRect/>
          </a:stretch>
        </p:blipFill>
        <p:spPr>
          <a:xfrm>
            <a:off x="1084652" y="4064204"/>
            <a:ext cx="2743200" cy="687710"/>
          </a:xfrm>
          <a:prstGeom prst="rect">
            <a:avLst/>
          </a:prstGeom>
        </p:spPr>
      </p:pic>
      <p:sp>
        <p:nvSpPr>
          <p:cNvPr id="54" name="CuadroTexto 53">
            <a:extLst>
              <a:ext uri="{FF2B5EF4-FFF2-40B4-BE49-F238E27FC236}">
                <a16:creationId xmlns:a16="http://schemas.microsoft.com/office/drawing/2014/main" id="{07F50ABA-5081-F952-A92B-47610AC1AEF8}"/>
              </a:ext>
            </a:extLst>
          </p:cNvPr>
          <p:cNvSpPr txBox="1"/>
          <p:nvPr/>
        </p:nvSpPr>
        <p:spPr>
          <a:xfrm>
            <a:off x="792058" y="4833800"/>
            <a:ext cx="4309510"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Font typeface="Arial"/>
              <a:buChar char="•"/>
            </a:pPr>
            <a:r>
              <a:rPr lang="en-US" sz="1050" dirty="0">
                <a:cs typeface="Arial"/>
              </a:rPr>
              <a:t>The optimal parameterization to find the best prediction took into account 50 (M) decision trees estimated for the training set with the previous explanatory model, finding the best tree with the highest accuracy and lowest residuals.
In each iteration, i.e. each tree, the algorithm gave lower weighting to those estimators that did not have a significant contribution to the prediction.</a:t>
            </a:r>
            <a:endParaRPr lang="es-ES" dirty="0">
              <a:cs typeface="Arial"/>
            </a:endParaRPr>
          </a:p>
        </p:txBody>
      </p:sp>
      <p:sp>
        <p:nvSpPr>
          <p:cNvPr id="69" name="CuadroTexto 68">
            <a:extLst>
              <a:ext uri="{FF2B5EF4-FFF2-40B4-BE49-F238E27FC236}">
                <a16:creationId xmlns:a16="http://schemas.microsoft.com/office/drawing/2014/main" id="{02A7BC19-1227-92BB-14DE-5FB0B26ADDED}"/>
              </a:ext>
            </a:extLst>
          </p:cNvPr>
          <p:cNvSpPr txBox="1"/>
          <p:nvPr/>
        </p:nvSpPr>
        <p:spPr>
          <a:xfrm>
            <a:off x="8707243" y="2521299"/>
            <a:ext cx="3363950"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1050" b="1" dirty="0">
                <a:cs typeface="Arial"/>
              </a:rPr>
              <a:t>Training Set: </a:t>
            </a:r>
            <a:r>
              <a:rPr lang="es-ES" sz="1050" dirty="0">
                <a:cs typeface="Arial"/>
              </a:rPr>
              <a:t>Data </a:t>
            </a:r>
            <a:r>
              <a:rPr lang="es-ES" sz="1050" dirty="0" err="1">
                <a:cs typeface="Arial"/>
              </a:rPr>
              <a:t>from</a:t>
            </a:r>
            <a:r>
              <a:rPr lang="es-ES" sz="1050" dirty="0">
                <a:cs typeface="Arial"/>
              </a:rPr>
              <a:t> 2020 a 2022 </a:t>
            </a:r>
            <a:r>
              <a:rPr lang="es-ES" sz="1050" b="1" dirty="0">
                <a:cs typeface="Arial"/>
              </a:rPr>
              <a:t> </a:t>
            </a:r>
            <a:endParaRPr lang="es-ES" dirty="0"/>
          </a:p>
          <a:p>
            <a:r>
              <a:rPr lang="es-ES" sz="1050" b="1" dirty="0">
                <a:cs typeface="Arial"/>
              </a:rPr>
              <a:t>Test set: </a:t>
            </a:r>
            <a:r>
              <a:rPr lang="es-ES" sz="1050" dirty="0">
                <a:cs typeface="Arial"/>
              </a:rPr>
              <a:t>2018 y 2019</a:t>
            </a:r>
            <a:endParaRPr lang="es-ES" dirty="0"/>
          </a:p>
        </p:txBody>
      </p:sp>
      <p:graphicFrame>
        <p:nvGraphicFramePr>
          <p:cNvPr id="70" name="Tabla 70">
            <a:extLst>
              <a:ext uri="{FF2B5EF4-FFF2-40B4-BE49-F238E27FC236}">
                <a16:creationId xmlns:a16="http://schemas.microsoft.com/office/drawing/2014/main" id="{FC889C7D-262A-CF5A-6CB4-34D3F038E663}"/>
              </a:ext>
            </a:extLst>
          </p:cNvPr>
          <p:cNvGraphicFramePr>
            <a:graphicFrameLocks noGrp="1"/>
          </p:cNvGraphicFramePr>
          <p:nvPr>
            <p:extLst>
              <p:ext uri="{D42A27DB-BD31-4B8C-83A1-F6EECF244321}">
                <p14:modId xmlns:p14="http://schemas.microsoft.com/office/powerpoint/2010/main" val="2291418394"/>
              </p:ext>
            </p:extLst>
          </p:nvPr>
        </p:nvGraphicFramePr>
        <p:xfrm>
          <a:off x="1006809" y="6179245"/>
          <a:ext cx="3875048" cy="538975"/>
        </p:xfrm>
        <a:graphic>
          <a:graphicData uri="http://schemas.openxmlformats.org/drawingml/2006/table">
            <a:tbl>
              <a:tblPr firstRow="1" bandRow="1">
                <a:tableStyleId>{7E9639D4-E3E2-4D34-9284-5A2195B3D0D7}</a:tableStyleId>
              </a:tblPr>
              <a:tblGrid>
                <a:gridCol w="1338146">
                  <a:extLst>
                    <a:ext uri="{9D8B030D-6E8A-4147-A177-3AD203B41FA5}">
                      <a16:colId xmlns:a16="http://schemas.microsoft.com/office/drawing/2014/main" val="328565815"/>
                    </a:ext>
                  </a:extLst>
                </a:gridCol>
                <a:gridCol w="2536902">
                  <a:extLst>
                    <a:ext uri="{9D8B030D-6E8A-4147-A177-3AD203B41FA5}">
                      <a16:colId xmlns:a16="http://schemas.microsoft.com/office/drawing/2014/main" val="3396053679"/>
                    </a:ext>
                  </a:extLst>
                </a:gridCol>
              </a:tblGrid>
              <a:tr h="278780">
                <a:tc>
                  <a:txBody>
                    <a:bodyPr/>
                    <a:lstStyle/>
                    <a:p>
                      <a:pPr algn="ctr"/>
                      <a:r>
                        <a:rPr lang="es-ES" sz="1050" dirty="0"/>
                        <a:t>R</a:t>
                      </a:r>
                      <a:r>
                        <a:rPr lang="es-ES" sz="1050" baseline="30000" dirty="0"/>
                        <a:t>2 </a:t>
                      </a:r>
                      <a:r>
                        <a:rPr lang="es-ES" sz="1050" dirty="0"/>
                        <a:t>Test Set</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ctr"/>
                      <a:r>
                        <a:rPr lang="es-ES" sz="1050" dirty="0" err="1"/>
                        <a:t>Explanation</a:t>
                      </a:r>
                      <a:r>
                        <a:rPr lang="es-ES" sz="1050" dirty="0"/>
                        <a:t> </a:t>
                      </a:r>
                      <a:r>
                        <a:rPr lang="es-ES" sz="1050" dirty="0" err="1"/>
                        <a:t>of</a:t>
                      </a:r>
                      <a:r>
                        <a:rPr lang="es-ES" sz="1050" dirty="0"/>
                        <a:t> </a:t>
                      </a:r>
                      <a:r>
                        <a:rPr lang="es-ES" sz="1050" dirty="0" err="1"/>
                        <a:t>Variance</a:t>
                      </a:r>
                      <a:r>
                        <a:rPr lang="es-ES" sz="1050" dirty="0"/>
                        <a:t> Score</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733238645"/>
                  </a:ext>
                </a:extLst>
              </a:tr>
              <a:tr h="260195">
                <a:tc>
                  <a:txBody>
                    <a:bodyPr/>
                    <a:lstStyle/>
                    <a:p>
                      <a:pPr algn="ctr"/>
                      <a:r>
                        <a:rPr lang="es-ES" sz="1050" dirty="0"/>
                        <a:t>0.68</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ctr"/>
                      <a:r>
                        <a:rPr lang="es-ES" sz="1050" dirty="0"/>
                        <a:t>0.75</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15265541"/>
                  </a:ext>
                </a:extLst>
              </a:tr>
            </a:tbl>
          </a:graphicData>
        </a:graphic>
      </p:graphicFrame>
      <p:pic>
        <p:nvPicPr>
          <p:cNvPr id="71" name="Imagen 71" descr="Texto&#10;&#10;Descripción generada automáticamente">
            <a:extLst>
              <a:ext uri="{FF2B5EF4-FFF2-40B4-BE49-F238E27FC236}">
                <a16:creationId xmlns:a16="http://schemas.microsoft.com/office/drawing/2014/main" id="{33B73961-7166-F54C-A05B-BDD705294036}"/>
              </a:ext>
            </a:extLst>
          </p:cNvPr>
          <p:cNvPicPr>
            <a:picLocks noChangeAspect="1"/>
          </p:cNvPicPr>
          <p:nvPr/>
        </p:nvPicPr>
        <p:blipFill>
          <a:blip r:embed="rId4"/>
          <a:stretch>
            <a:fillRect/>
          </a:stretch>
        </p:blipFill>
        <p:spPr>
          <a:xfrm>
            <a:off x="8757424" y="1064647"/>
            <a:ext cx="2910468" cy="816484"/>
          </a:xfrm>
          <a:prstGeom prst="rect">
            <a:avLst/>
          </a:prstGeom>
        </p:spPr>
      </p:pic>
      <p:sp>
        <p:nvSpPr>
          <p:cNvPr id="72" name="CuadroTexto 71">
            <a:extLst>
              <a:ext uri="{FF2B5EF4-FFF2-40B4-BE49-F238E27FC236}">
                <a16:creationId xmlns:a16="http://schemas.microsoft.com/office/drawing/2014/main" id="{CE471F4E-64D8-C19E-EF44-240579ED9521}"/>
              </a:ext>
            </a:extLst>
          </p:cNvPr>
          <p:cNvSpPr txBox="1"/>
          <p:nvPr/>
        </p:nvSpPr>
        <p:spPr>
          <a:xfrm>
            <a:off x="8707244" y="641194"/>
            <a:ext cx="310375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dirty="0">
                <a:cs typeface="Arial"/>
              </a:rPr>
              <a:t>Image 1. Spatial autocorrelation test:</a:t>
            </a:r>
            <a:endParaRPr lang="es-ES" sz="1050" b="1" dirty="0">
              <a:cs typeface="Arial"/>
            </a:endParaRPr>
          </a:p>
        </p:txBody>
      </p:sp>
      <p:sp>
        <p:nvSpPr>
          <p:cNvPr id="238" name="Flecha: a la derecha 237">
            <a:extLst>
              <a:ext uri="{FF2B5EF4-FFF2-40B4-BE49-F238E27FC236}">
                <a16:creationId xmlns:a16="http://schemas.microsoft.com/office/drawing/2014/main" id="{361FAB55-514D-5426-2B53-457950FEC293}"/>
              </a:ext>
            </a:extLst>
          </p:cNvPr>
          <p:cNvSpPr/>
          <p:nvPr/>
        </p:nvSpPr>
        <p:spPr>
          <a:xfrm rot="5400000">
            <a:off x="3193125" y="2128254"/>
            <a:ext cx="343027" cy="315493"/>
          </a:xfrm>
          <a:prstGeom prs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0" name="Flecha: a la derecha 239">
            <a:extLst>
              <a:ext uri="{FF2B5EF4-FFF2-40B4-BE49-F238E27FC236}">
                <a16:creationId xmlns:a16="http://schemas.microsoft.com/office/drawing/2014/main" id="{9B5874CA-3336-74EA-B5F3-69703CB9298A}"/>
              </a:ext>
            </a:extLst>
          </p:cNvPr>
          <p:cNvSpPr/>
          <p:nvPr/>
        </p:nvSpPr>
        <p:spPr>
          <a:xfrm rot="5400000">
            <a:off x="5169255" y="2126862"/>
            <a:ext cx="343027" cy="315493"/>
          </a:xfrm>
          <a:prstGeom prs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1" name="Flecha: a la derecha 240">
            <a:extLst>
              <a:ext uri="{FF2B5EF4-FFF2-40B4-BE49-F238E27FC236}">
                <a16:creationId xmlns:a16="http://schemas.microsoft.com/office/drawing/2014/main" id="{9D3B0B71-7335-D703-8BEB-3B3011A13CAC}"/>
              </a:ext>
            </a:extLst>
          </p:cNvPr>
          <p:cNvSpPr/>
          <p:nvPr/>
        </p:nvSpPr>
        <p:spPr>
          <a:xfrm rot="5400000">
            <a:off x="3193125" y="3340375"/>
            <a:ext cx="343027" cy="315493"/>
          </a:xfrm>
          <a:prstGeom prs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2" name="Flecha: a la derecha 241">
            <a:extLst>
              <a:ext uri="{FF2B5EF4-FFF2-40B4-BE49-F238E27FC236}">
                <a16:creationId xmlns:a16="http://schemas.microsoft.com/office/drawing/2014/main" id="{DFC32347-FE47-19D3-D6BE-31688A09A340}"/>
              </a:ext>
            </a:extLst>
          </p:cNvPr>
          <p:cNvSpPr/>
          <p:nvPr/>
        </p:nvSpPr>
        <p:spPr>
          <a:xfrm>
            <a:off x="5183022" y="5051268"/>
            <a:ext cx="343027" cy="315493"/>
          </a:xfrm>
          <a:prstGeom prs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3" name="CuadroTexto 242">
            <a:extLst>
              <a:ext uri="{FF2B5EF4-FFF2-40B4-BE49-F238E27FC236}">
                <a16:creationId xmlns:a16="http://schemas.microsoft.com/office/drawing/2014/main" id="{BD674C18-8336-2B26-AE5D-4BEBCE2BAF43}"/>
              </a:ext>
            </a:extLst>
          </p:cNvPr>
          <p:cNvSpPr txBox="1"/>
          <p:nvPr/>
        </p:nvSpPr>
        <p:spPr>
          <a:xfrm>
            <a:off x="5526049" y="4247016"/>
            <a:ext cx="3261862" cy="1785104"/>
          </a:xfrm>
          <a:prstGeom prst="rect">
            <a:avLst/>
          </a:prstGeom>
          <a:noFill/>
          <a:ln>
            <a:solidFill>
              <a:srgbClr val="002060"/>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Font typeface="Arial"/>
              <a:buChar char="•"/>
            </a:pPr>
            <a:r>
              <a:rPr lang="en-US" sz="1000" dirty="0">
                <a:cs typeface="Arial"/>
              </a:rPr>
              <a:t>For the prediction, the algorithm gave greater weight to the departments with the highest spatial autocorrelation significance. At 5% confidence, the departments were Bolívar, Meta and Santander, Image 2.
The estimated data on temperature and precipitation variation were taken from the IDEAM climatological bulletin for March with the predictions for the regions to September with alert for possible high magnitude of the impact of the El Niño phenomenon for next year.</a:t>
            </a:r>
            <a:endParaRPr lang="es-ES" sz="1000" dirty="0">
              <a:cs typeface="Arial"/>
            </a:endParaRPr>
          </a:p>
        </p:txBody>
      </p:sp>
      <p:sp>
        <p:nvSpPr>
          <p:cNvPr id="244" name="CuadroTexto 243">
            <a:extLst>
              <a:ext uri="{FF2B5EF4-FFF2-40B4-BE49-F238E27FC236}">
                <a16:creationId xmlns:a16="http://schemas.microsoft.com/office/drawing/2014/main" id="{4E6A643E-FF81-BA2B-B899-DE05952DEA06}"/>
              </a:ext>
            </a:extLst>
          </p:cNvPr>
          <p:cNvSpPr txBox="1"/>
          <p:nvPr/>
        </p:nvSpPr>
        <p:spPr>
          <a:xfrm>
            <a:off x="8914207" y="3472824"/>
            <a:ext cx="310375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dirty="0">
                <a:cs typeface="Arial"/>
              </a:rPr>
              <a:t>Image 2. Significance by department</a:t>
            </a:r>
            <a:endParaRPr lang="es-ES" sz="1050" b="1" dirty="0">
              <a:cs typeface="Arial"/>
            </a:endParaRPr>
          </a:p>
        </p:txBody>
      </p:sp>
      <p:sp>
        <p:nvSpPr>
          <p:cNvPr id="3" name="CuadroTexto 2">
            <a:extLst>
              <a:ext uri="{FF2B5EF4-FFF2-40B4-BE49-F238E27FC236}">
                <a16:creationId xmlns:a16="http://schemas.microsoft.com/office/drawing/2014/main" id="{9B17DCFD-5429-D08C-B9E1-716DD9DFFEB8}"/>
              </a:ext>
            </a:extLst>
          </p:cNvPr>
          <p:cNvSpPr txBox="1"/>
          <p:nvPr/>
        </p:nvSpPr>
        <p:spPr>
          <a:xfrm>
            <a:off x="725518" y="2488767"/>
            <a:ext cx="7680875" cy="738664"/>
          </a:xfrm>
          <a:prstGeom prst="rect">
            <a:avLst/>
          </a:prstGeom>
          <a:noFill/>
          <a:ln>
            <a:solidFill>
              <a:srgbClr val="002060"/>
            </a:solidFill>
            <a:prstDash val="sysDot"/>
            <a:extLst>
              <a:ext uri="{C807C97D-BFC1-408E-A445-0C87EB9F89A2}">
                <ask:lineSketchStyleProps xmlns:ask="http://schemas.microsoft.com/office/drawing/2018/sketchyshapes">
                  <ask:type>
                    <ask:lineSketchNone/>
                  </ask:type>
                </ask:lineSketchStyleProps>
              </a:ext>
            </a:extLs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s-CO"/>
            </a:defPPr>
            <a:lvl1pPr algn="just">
              <a:defRPr sz="1050" b="1">
                <a:cs typeface="Arial"/>
              </a:defRPr>
            </a:lvl1pPr>
          </a:lstStyle>
          <a:p>
            <a:r>
              <a:rPr lang="es-ES" sz="1100" i="1" dirty="0" err="1"/>
              <a:t>Emergency_Resources</a:t>
            </a:r>
            <a:r>
              <a:rPr lang="es-ES" sz="1100" i="1" baseline="-25000" dirty="0" err="1"/>
              <a:t>it</a:t>
            </a:r>
            <a:r>
              <a:rPr lang="es-ES" sz="1100" i="1" dirty="0"/>
              <a:t>= </a:t>
            </a:r>
            <a:r>
              <a:rPr lang="es-ES" sz="1100" i="1" dirty="0" err="1"/>
              <a:t>Risk_Index</a:t>
            </a:r>
            <a:r>
              <a:rPr lang="es-ES" sz="1100" i="1" baseline="-25000" dirty="0" err="1"/>
              <a:t>i</a:t>
            </a:r>
            <a:r>
              <a:rPr lang="es-ES" sz="1100" i="1" dirty="0"/>
              <a:t> +  %</a:t>
            </a:r>
            <a:r>
              <a:rPr lang="es-ES" sz="1100" i="1" dirty="0" err="1"/>
              <a:t>annual</a:t>
            </a:r>
            <a:r>
              <a:rPr lang="es-ES" sz="1100" i="1" dirty="0"/>
              <a:t> </a:t>
            </a:r>
            <a:r>
              <a:rPr lang="es-ES" sz="1100" i="1" dirty="0" err="1"/>
              <a:t>temperature</a:t>
            </a:r>
            <a:r>
              <a:rPr lang="es-ES" sz="1100" i="1" dirty="0"/>
              <a:t> </a:t>
            </a:r>
            <a:r>
              <a:rPr lang="es-ES" sz="1100" i="1" dirty="0" err="1"/>
              <a:t>rate</a:t>
            </a:r>
            <a:r>
              <a:rPr lang="es-ES" sz="1100" i="1" baseline="-25000" dirty="0" err="1"/>
              <a:t>it</a:t>
            </a:r>
            <a:r>
              <a:rPr lang="es-ES" sz="1100" i="1" baseline="-25000" dirty="0"/>
              <a:t> </a:t>
            </a:r>
            <a:r>
              <a:rPr lang="es-ES" sz="1100" i="1" dirty="0"/>
              <a:t>+  % </a:t>
            </a:r>
            <a:r>
              <a:rPr lang="es-ES" sz="1100" i="1" dirty="0" err="1"/>
              <a:t>annual</a:t>
            </a:r>
            <a:r>
              <a:rPr lang="es-ES" sz="1100" i="1" dirty="0"/>
              <a:t> </a:t>
            </a:r>
            <a:r>
              <a:rPr lang="es-ES" sz="1100" i="1" dirty="0" err="1"/>
              <a:t>precipitation</a:t>
            </a:r>
            <a:r>
              <a:rPr lang="es-ES" sz="1100" i="1" dirty="0"/>
              <a:t> </a:t>
            </a:r>
            <a:r>
              <a:rPr lang="es-ES" sz="1100" i="1" dirty="0" err="1"/>
              <a:t>rate</a:t>
            </a:r>
            <a:r>
              <a:rPr lang="es-ES" sz="1100" i="1" baseline="-25000" dirty="0" err="1"/>
              <a:t>it</a:t>
            </a:r>
            <a:endParaRPr lang="es-ES" sz="1100" i="1" dirty="0"/>
          </a:p>
          <a:p>
            <a:r>
              <a:rPr lang="es-CO" sz="900" i="1" dirty="0"/>
              <a:t>         (Actual base </a:t>
            </a:r>
            <a:r>
              <a:rPr lang="es-CO" sz="900" i="1" dirty="0" err="1"/>
              <a:t>values</a:t>
            </a:r>
            <a:r>
              <a:rPr lang="es-CO" sz="900" i="1" dirty="0"/>
              <a:t> 2018)		(</a:t>
            </a:r>
            <a:r>
              <a:rPr lang="en-US" sz="900" i="1" dirty="0"/>
              <a:t>Average for each apartment based on the 3 closest apartments</a:t>
            </a:r>
            <a:r>
              <a:rPr lang="es-CO" sz="900" i="1" dirty="0"/>
              <a:t>)</a:t>
            </a:r>
          </a:p>
          <a:p>
            <a:endParaRPr lang="es-CO" sz="1100" i="1" dirty="0"/>
          </a:p>
          <a:p>
            <a:r>
              <a:rPr lang="es-CO" sz="1100" i="1" dirty="0"/>
              <a:t>i= </a:t>
            </a:r>
            <a:r>
              <a:rPr lang="es-CO" sz="1100" i="1" dirty="0" err="1"/>
              <a:t>Department</a:t>
            </a:r>
            <a:r>
              <a:rPr lang="es-CO" sz="1100" i="1" dirty="0"/>
              <a:t>; t= </a:t>
            </a:r>
            <a:r>
              <a:rPr lang="es-CO" sz="1100" i="1" dirty="0" err="1"/>
              <a:t>year</a:t>
            </a:r>
            <a:endParaRPr lang="es-CO" sz="1100" i="1" dirty="0"/>
          </a:p>
        </p:txBody>
      </p:sp>
    </p:spTree>
    <p:extLst>
      <p:ext uri="{BB962C8B-B14F-4D97-AF65-F5344CB8AC3E}">
        <p14:creationId xmlns:p14="http://schemas.microsoft.com/office/powerpoint/2010/main" val="3882441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91115 CIN Macol (4)">
  <a:themeElements>
    <a:clrScheme name="Personalizado 3">
      <a:dk1>
        <a:sysClr val="windowText" lastClr="000000"/>
      </a:dk1>
      <a:lt1>
        <a:sysClr val="window" lastClr="FFFFFF"/>
      </a:lt1>
      <a:dk2>
        <a:srgbClr val="1B1163"/>
      </a:dk2>
      <a:lt2>
        <a:srgbClr val="E7E6E6"/>
      </a:lt2>
      <a:accent1>
        <a:srgbClr val="49DB31"/>
      </a:accent1>
      <a:accent2>
        <a:srgbClr val="4E01A8"/>
      </a:accent2>
      <a:accent3>
        <a:srgbClr val="A5A5A5"/>
      </a:accent3>
      <a:accent4>
        <a:srgbClr val="FFC000"/>
      </a:accent4>
      <a:accent5>
        <a:srgbClr val="F7032C"/>
      </a:accent5>
      <a:accent6>
        <a:srgbClr val="01FFD5"/>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a de Office">
  <a:themeElements>
    <a:clrScheme name="Ecopetrol">
      <a:dk1>
        <a:sysClr val="windowText" lastClr="000000"/>
      </a:dk1>
      <a:lt1>
        <a:sysClr val="window" lastClr="FFFFFF"/>
      </a:lt1>
      <a:dk2>
        <a:srgbClr val="FFFFFF"/>
      </a:dk2>
      <a:lt2>
        <a:srgbClr val="F2F2F2"/>
      </a:lt2>
      <a:accent1>
        <a:srgbClr val="CBD300"/>
      </a:accent1>
      <a:accent2>
        <a:srgbClr val="92D050"/>
      </a:accent2>
      <a:accent3>
        <a:srgbClr val="7F7F7F"/>
      </a:accent3>
      <a:accent4>
        <a:srgbClr val="FFC000"/>
      </a:accent4>
      <a:accent5>
        <a:srgbClr val="004237"/>
      </a:accent5>
      <a:accent6>
        <a:srgbClr val="8CD05A"/>
      </a:accent6>
      <a:hlink>
        <a:srgbClr val="00B050"/>
      </a:hlink>
      <a:folHlink>
        <a:srgbClr val="595959"/>
      </a:folHlink>
    </a:clrScheme>
    <a:fontScheme name="Personalizado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0DD16B0B-0DB7-4351-9608-E2705FE27B77}" vid="{2C1E3A82-95ED-46B7-AC7C-8720D61CDA25}"/>
    </a:ext>
  </a:extLst>
</a:theme>
</file>

<file path=ppt/theme/theme4.xml><?xml version="1.0" encoding="utf-8"?>
<a:theme xmlns:a="http://schemas.openxmlformats.org/drawingml/2006/main" name="2_Tema de Office">
  <a:themeElements>
    <a:clrScheme name="PPTO">
      <a:dk1>
        <a:sysClr val="windowText" lastClr="000000"/>
      </a:dk1>
      <a:lt1>
        <a:sysClr val="window" lastClr="FFFFFF"/>
      </a:lt1>
      <a:dk2>
        <a:srgbClr val="1B1163"/>
      </a:dk2>
      <a:lt2>
        <a:srgbClr val="E7E6E6"/>
      </a:lt2>
      <a:accent1>
        <a:srgbClr val="364D6E"/>
      </a:accent1>
      <a:accent2>
        <a:srgbClr val="4C6C9C"/>
      </a:accent2>
      <a:accent3>
        <a:srgbClr val="6F8DB9"/>
      </a:accent3>
      <a:accent4>
        <a:srgbClr val="9DB1CF"/>
      </a:accent4>
      <a:accent5>
        <a:srgbClr val="C3CFE1"/>
      </a:accent5>
      <a:accent6>
        <a:srgbClr val="DFE5EF"/>
      </a:accent6>
      <a:hlink>
        <a:srgbClr val="7B7B7B"/>
      </a:hlink>
      <a:folHlink>
        <a:srgbClr val="1B1163"/>
      </a:folHlink>
    </a:clrScheme>
    <a:fontScheme name="Personalizado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FBE91A8CC7569E4F94F6390AD37F744A" ma:contentTypeVersion="12" ma:contentTypeDescription="Crear nuevo documento." ma:contentTypeScope="" ma:versionID="0f801344eaaa8126c130e7aafa45728e">
  <xsd:schema xmlns:xsd="http://www.w3.org/2001/XMLSchema" xmlns:xs="http://www.w3.org/2001/XMLSchema" xmlns:p="http://schemas.microsoft.com/office/2006/metadata/properties" xmlns:ns2="737870eb-48ee-4327-b979-06e3e4731fce" xmlns:ns3="47bc9969-daa3-4e7e-8dcc-31e0832d394e" targetNamespace="http://schemas.microsoft.com/office/2006/metadata/properties" ma:root="true" ma:fieldsID="50e9f0a8218e45b9aca50721acdf2981" ns2:_="" ns3:_="">
    <xsd:import namespace="737870eb-48ee-4327-b979-06e3e4731fce"/>
    <xsd:import namespace="47bc9969-daa3-4e7e-8dcc-31e0832d394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7870eb-48ee-4327-b979-06e3e4731f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bc9969-daa3-4e7e-8dcc-31e0832d394e"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C0A80-4C89-4BF3-97EF-1B10BC35E1E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A192109-7493-4F48-A898-17C1A4A2B45F}">
  <ds:schemaRefs>
    <ds:schemaRef ds:uri="http://schemas.microsoft.com/sharepoint/v3/contenttype/forms"/>
  </ds:schemaRefs>
</ds:datastoreItem>
</file>

<file path=customXml/itemProps3.xml><?xml version="1.0" encoding="utf-8"?>
<ds:datastoreItem xmlns:ds="http://schemas.openxmlformats.org/officeDocument/2006/customXml" ds:itemID="{EBB28A9B-CBA9-4631-9CC0-3492479B75AB}">
  <ds:schemaRefs>
    <ds:schemaRef ds:uri="47bc9969-daa3-4e7e-8dcc-31e0832d394e"/>
    <ds:schemaRef ds:uri="737870eb-48ee-4327-b979-06e3e4731f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a4305987-cf78-4f93-9d64-bf18af65397b}" enabled="0" method="" siteId="{a4305987-cf78-4f93-9d64-bf18af65397b}" removed="1"/>
</clbl:labelList>
</file>

<file path=docProps/app.xml><?xml version="1.0" encoding="utf-8"?>
<Properties xmlns="http://schemas.openxmlformats.org/officeDocument/2006/extended-properties" xmlns:vt="http://schemas.openxmlformats.org/officeDocument/2006/docPropsVTypes">
  <Template/>
  <TotalTime>131</TotalTime>
  <Words>1770</Words>
  <Application>Microsoft Office PowerPoint</Application>
  <PresentationFormat>Panorámica</PresentationFormat>
  <Paragraphs>179</Paragraphs>
  <Slides>12</Slides>
  <Notes>0</Notes>
  <HiddenSlides>0</HiddenSlides>
  <MMClips>0</MMClips>
  <ScaleCrop>false</ScaleCrop>
  <HeadingPairs>
    <vt:vector size="8" baseType="variant">
      <vt:variant>
        <vt:lpstr>Fuentes usadas</vt:lpstr>
      </vt:variant>
      <vt:variant>
        <vt:i4>4</vt:i4>
      </vt:variant>
      <vt:variant>
        <vt:lpstr>Tema</vt:lpstr>
      </vt:variant>
      <vt:variant>
        <vt:i4>4</vt:i4>
      </vt:variant>
      <vt:variant>
        <vt:lpstr>Servidores OLE incrustados</vt:lpstr>
      </vt:variant>
      <vt:variant>
        <vt:i4>2</vt:i4>
      </vt:variant>
      <vt:variant>
        <vt:lpstr>Títulos de diapositiva</vt:lpstr>
      </vt:variant>
      <vt:variant>
        <vt:i4>12</vt:i4>
      </vt:variant>
    </vt:vector>
  </HeadingPairs>
  <TitlesOfParts>
    <vt:vector size="22" baseType="lpstr">
      <vt:lpstr>Arial</vt:lpstr>
      <vt:lpstr>Calibri</vt:lpstr>
      <vt:lpstr>Helvetica Neue</vt:lpstr>
      <vt:lpstr>Wingdings</vt:lpstr>
      <vt:lpstr>Tema de Office</vt:lpstr>
      <vt:lpstr>191115 CIN Macol (4)</vt:lpstr>
      <vt:lpstr>1_Tema de Office</vt:lpstr>
      <vt:lpstr>2_Tema de Office</vt:lpstr>
      <vt:lpstr>think-cell Slide</vt:lpstr>
      <vt:lpstr>Diapositiva de think-cell</vt:lpstr>
      <vt:lpstr>Predictive model to allocate resources for non operational emergencies</vt:lpstr>
      <vt:lpstr>Climate data 2010-2022</vt:lpstr>
      <vt:lpstr>Historical Record of Disaster Events</vt:lpstr>
      <vt:lpstr>Presentación de PowerPoint</vt:lpstr>
      <vt:lpstr>Presentación de PowerPoint</vt:lpstr>
      <vt:lpstr>Resources - 2024 Estimate</vt:lpstr>
      <vt:lpstr>Resources - Emergency History</vt:lpstr>
      <vt:lpstr>Resources - Emergency History</vt:lpstr>
      <vt:lpstr>Predictive model</vt:lpstr>
      <vt:lpstr>Resources - 2024 Estimate</vt:lpstr>
      <vt:lpstr>Referencia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afael Andres Mulett Diaz</dc:creator>
  <cp:lastModifiedBy>cristian herreño</cp:lastModifiedBy>
  <cp:revision>3</cp:revision>
  <dcterms:created xsi:type="dcterms:W3CDTF">2019-03-11T20:44:01Z</dcterms:created>
  <dcterms:modified xsi:type="dcterms:W3CDTF">2024-03-10T20:5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E91A8CC7569E4F94F6390AD37F744A</vt:lpwstr>
  </property>
</Properties>
</file>